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3"/>
  </p:notesMasterIdLst>
  <p:handoutMasterIdLst>
    <p:handoutMasterId r:id="rId24"/>
  </p:handoutMasterIdLst>
  <p:sldIdLst>
    <p:sldId id="384" r:id="rId2"/>
    <p:sldId id="4983" r:id="rId3"/>
    <p:sldId id="5016" r:id="rId4"/>
    <p:sldId id="5017" r:id="rId5"/>
    <p:sldId id="4986" r:id="rId6"/>
    <p:sldId id="5000" r:id="rId7"/>
    <p:sldId id="5013" r:id="rId8"/>
    <p:sldId id="4998" r:id="rId9"/>
    <p:sldId id="5018" r:id="rId10"/>
    <p:sldId id="5019" r:id="rId11"/>
    <p:sldId id="5014" r:id="rId12"/>
    <p:sldId id="4970" r:id="rId13"/>
    <p:sldId id="5012" r:id="rId14"/>
    <p:sldId id="4990" r:id="rId15"/>
    <p:sldId id="5021" r:id="rId16"/>
    <p:sldId id="393" r:id="rId17"/>
    <p:sldId id="4992" r:id="rId18"/>
    <p:sldId id="4993" r:id="rId19"/>
    <p:sldId id="4994" r:id="rId20"/>
    <p:sldId id="4995" r:id="rId21"/>
    <p:sldId id="4996"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B2113E-298F-470B-18D9-49D10F1E6DBE}" name="Elgee, Jeffrey (SPAC/PSPC)" initials="EJ(" userId="S::Jeffrey.Elgee@tpsgc-pwgsc.gc.ca::e10f0e9c-c03f-4fde-9113-11216b420c44" providerId="AD"/>
  <p188:author id="{B82E8466-83BB-6317-73B9-A51F2FE0BC10}" name="Pare, Carine (SPAC/PSPC)" initials="PC(" userId="S::Carine.Pare@tpsgc-pwgsc.gc.ca::71f88b2f-db4c-4269-9577-1025f7fc6543"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17455C"/>
    <a:srgbClr val="4CB6A0"/>
    <a:srgbClr val="18853F"/>
    <a:srgbClr val="518648"/>
    <a:srgbClr val="F8F682"/>
    <a:srgbClr val="7CB430"/>
    <a:srgbClr val="A8CE75"/>
    <a:srgbClr val="D0FAC0"/>
    <a:srgbClr val="A2F68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1AC57A-6E3B-4D85-BA02-8D6F5065EA89}" v="175" dt="2024-07-09T13:57:29.0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37" autoAdjust="0"/>
    <p:restoredTop sz="86387" autoAdjust="0"/>
  </p:normalViewPr>
  <p:slideViewPr>
    <p:cSldViewPr snapToGrid="0">
      <p:cViewPr varScale="1">
        <p:scale>
          <a:sx n="77" d="100"/>
          <a:sy n="77" d="100"/>
        </p:scale>
        <p:origin x="76" y="6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S::jeffrey.elgee@tpsgc-pwgsc.gc.ca::e10f0e9c-c03f-4fde-9113-11216b420c44" providerId="AD" clId="Web-{39BD275A-D88A-FBF0-2652-96870C031F07}"/>
    <pc:docChg chg="delSld modSld sldOrd">
      <pc:chgData name="Elgee, Jeffrey (SPAC/PSPC)" userId="S::jeffrey.elgee@tpsgc-pwgsc.gc.ca::e10f0e9c-c03f-4fde-9113-11216b420c44" providerId="AD" clId="Web-{39BD275A-D88A-FBF0-2652-96870C031F07}" dt="2024-06-10T15:45:49.007" v="136" actId="20577"/>
      <pc:docMkLst>
        <pc:docMk/>
      </pc:docMkLst>
      <pc:sldChg chg="ord">
        <pc:chgData name="Elgee, Jeffrey (SPAC/PSPC)" userId="S::jeffrey.elgee@tpsgc-pwgsc.gc.ca::e10f0e9c-c03f-4fde-9113-11216b420c44" providerId="AD" clId="Web-{39BD275A-D88A-FBF0-2652-96870C031F07}" dt="2024-06-10T15:34:12.804" v="2"/>
        <pc:sldMkLst>
          <pc:docMk/>
          <pc:sldMk cId="1875387166" sldId="261"/>
        </pc:sldMkLst>
      </pc:sldChg>
      <pc:sldChg chg="mod modShow">
        <pc:chgData name="Elgee, Jeffrey (SPAC/PSPC)" userId="S::jeffrey.elgee@tpsgc-pwgsc.gc.ca::e10f0e9c-c03f-4fde-9113-11216b420c44" providerId="AD" clId="Web-{39BD275A-D88A-FBF0-2652-96870C031F07}" dt="2024-06-10T15:39:25.351" v="20"/>
        <pc:sldMkLst>
          <pc:docMk/>
          <pc:sldMk cId="4155933925" sldId="4984"/>
        </pc:sldMkLst>
      </pc:sldChg>
      <pc:sldChg chg="mod modShow">
        <pc:chgData name="Elgee, Jeffrey (SPAC/PSPC)" userId="S::jeffrey.elgee@tpsgc-pwgsc.gc.ca::e10f0e9c-c03f-4fde-9113-11216b420c44" providerId="AD" clId="Web-{39BD275A-D88A-FBF0-2652-96870C031F07}" dt="2024-06-10T15:39:25.429" v="21"/>
        <pc:sldMkLst>
          <pc:docMk/>
          <pc:sldMk cId="3586646843" sldId="4988"/>
        </pc:sldMkLst>
      </pc:sldChg>
      <pc:sldChg chg="modSp">
        <pc:chgData name="Elgee, Jeffrey (SPAC/PSPC)" userId="S::jeffrey.elgee@tpsgc-pwgsc.gc.ca::e10f0e9c-c03f-4fde-9113-11216b420c44" providerId="AD" clId="Web-{39BD275A-D88A-FBF0-2652-96870C031F07}" dt="2024-06-10T15:41:51.710" v="90" actId="20577"/>
        <pc:sldMkLst>
          <pc:docMk/>
          <pc:sldMk cId="3675530289" sldId="4990"/>
        </pc:sldMkLst>
        <pc:spChg chg="mod">
          <ac:chgData name="Elgee, Jeffrey (SPAC/PSPC)" userId="S::jeffrey.elgee@tpsgc-pwgsc.gc.ca::e10f0e9c-c03f-4fde-9113-11216b420c44" providerId="AD" clId="Web-{39BD275A-D88A-FBF0-2652-96870C031F07}" dt="2024-06-10T15:41:51.710" v="90" actId="20577"/>
          <ac:spMkLst>
            <pc:docMk/>
            <pc:sldMk cId="3675530289" sldId="4990"/>
            <ac:spMk id="3" creationId="{850EFA27-BB7E-A97B-CC4E-5CD87E1BCE56}"/>
          </ac:spMkLst>
        </pc:spChg>
      </pc:sldChg>
      <pc:sldChg chg="modSp">
        <pc:chgData name="Elgee, Jeffrey (SPAC/PSPC)" userId="S::jeffrey.elgee@tpsgc-pwgsc.gc.ca::e10f0e9c-c03f-4fde-9113-11216b420c44" providerId="AD" clId="Web-{39BD275A-D88A-FBF0-2652-96870C031F07}" dt="2024-06-10T15:42:19.101" v="91" actId="20577"/>
        <pc:sldMkLst>
          <pc:docMk/>
          <pc:sldMk cId="388099589" sldId="4992"/>
        </pc:sldMkLst>
        <pc:spChg chg="mod">
          <ac:chgData name="Elgee, Jeffrey (SPAC/PSPC)" userId="S::jeffrey.elgee@tpsgc-pwgsc.gc.ca::e10f0e9c-c03f-4fde-9113-11216b420c44" providerId="AD" clId="Web-{39BD275A-D88A-FBF0-2652-96870C031F07}" dt="2024-06-10T15:42:19.101" v="91" actId="20577"/>
          <ac:spMkLst>
            <pc:docMk/>
            <pc:sldMk cId="388099589" sldId="4992"/>
            <ac:spMk id="15" creationId="{2A224E51-C8E2-AF04-0A70-65F6548C9FA5}"/>
          </ac:spMkLst>
        </pc:spChg>
      </pc:sldChg>
      <pc:sldChg chg="modSp">
        <pc:chgData name="Elgee, Jeffrey (SPAC/PSPC)" userId="S::jeffrey.elgee@tpsgc-pwgsc.gc.ca::e10f0e9c-c03f-4fde-9113-11216b420c44" providerId="AD" clId="Web-{39BD275A-D88A-FBF0-2652-96870C031F07}" dt="2024-06-10T15:43:46.913" v="108" actId="1076"/>
        <pc:sldMkLst>
          <pc:docMk/>
          <pc:sldMk cId="3248544414" sldId="4993"/>
        </pc:sldMkLst>
        <pc:spChg chg="mod">
          <ac:chgData name="Elgee, Jeffrey (SPAC/PSPC)" userId="S::jeffrey.elgee@tpsgc-pwgsc.gc.ca::e10f0e9c-c03f-4fde-9113-11216b420c44" providerId="AD" clId="Web-{39BD275A-D88A-FBF0-2652-96870C031F07}" dt="2024-06-10T15:43:46.913" v="108" actId="1076"/>
          <ac:spMkLst>
            <pc:docMk/>
            <pc:sldMk cId="3248544414" sldId="4993"/>
            <ac:spMk id="2" creationId="{614254A6-86DE-4A21-B094-C9AE8BEEF21A}"/>
          </ac:spMkLst>
        </pc:spChg>
      </pc:sldChg>
      <pc:sldChg chg="modSp">
        <pc:chgData name="Elgee, Jeffrey (SPAC/PSPC)" userId="S::jeffrey.elgee@tpsgc-pwgsc.gc.ca::e10f0e9c-c03f-4fde-9113-11216b420c44" providerId="AD" clId="Web-{39BD275A-D88A-FBF0-2652-96870C031F07}" dt="2024-06-10T15:44:34.491" v="113" actId="1076"/>
        <pc:sldMkLst>
          <pc:docMk/>
          <pc:sldMk cId="2239565128" sldId="4994"/>
        </pc:sldMkLst>
        <pc:spChg chg="mod">
          <ac:chgData name="Elgee, Jeffrey (SPAC/PSPC)" userId="S::jeffrey.elgee@tpsgc-pwgsc.gc.ca::e10f0e9c-c03f-4fde-9113-11216b420c44" providerId="AD" clId="Web-{39BD275A-D88A-FBF0-2652-96870C031F07}" dt="2024-06-10T15:44:34.491" v="113" actId="1076"/>
          <ac:spMkLst>
            <pc:docMk/>
            <pc:sldMk cId="2239565128" sldId="4994"/>
            <ac:spMk id="3" creationId="{1CEF9E92-F5EA-929E-089A-77CB316CD4E6}"/>
          </ac:spMkLst>
        </pc:spChg>
      </pc:sldChg>
      <pc:sldChg chg="modSp">
        <pc:chgData name="Elgee, Jeffrey (SPAC/PSPC)" userId="S::jeffrey.elgee@tpsgc-pwgsc.gc.ca::e10f0e9c-c03f-4fde-9113-11216b420c44" providerId="AD" clId="Web-{39BD275A-D88A-FBF0-2652-96870C031F07}" dt="2024-06-10T15:45:04.054" v="118" actId="1076"/>
        <pc:sldMkLst>
          <pc:docMk/>
          <pc:sldMk cId="4226407642" sldId="4995"/>
        </pc:sldMkLst>
        <pc:spChg chg="mod">
          <ac:chgData name="Elgee, Jeffrey (SPAC/PSPC)" userId="S::jeffrey.elgee@tpsgc-pwgsc.gc.ca::e10f0e9c-c03f-4fde-9113-11216b420c44" providerId="AD" clId="Web-{39BD275A-D88A-FBF0-2652-96870C031F07}" dt="2024-06-10T15:45:04.054" v="118" actId="1076"/>
          <ac:spMkLst>
            <pc:docMk/>
            <pc:sldMk cId="4226407642" sldId="4995"/>
            <ac:spMk id="4" creationId="{7A3D9691-2EF5-8BFD-F0A0-97FB021A1A74}"/>
          </ac:spMkLst>
        </pc:spChg>
      </pc:sldChg>
      <pc:sldChg chg="addSp modSp">
        <pc:chgData name="Elgee, Jeffrey (SPAC/PSPC)" userId="S::jeffrey.elgee@tpsgc-pwgsc.gc.ca::e10f0e9c-c03f-4fde-9113-11216b420c44" providerId="AD" clId="Web-{39BD275A-D88A-FBF0-2652-96870C031F07}" dt="2024-06-10T15:45:49.007" v="136" actId="20577"/>
        <pc:sldMkLst>
          <pc:docMk/>
          <pc:sldMk cId="502785453" sldId="4996"/>
        </pc:sldMkLst>
        <pc:spChg chg="add mod">
          <ac:chgData name="Elgee, Jeffrey (SPAC/PSPC)" userId="S::jeffrey.elgee@tpsgc-pwgsc.gc.ca::e10f0e9c-c03f-4fde-9113-11216b420c44" providerId="AD" clId="Web-{39BD275A-D88A-FBF0-2652-96870C031F07}" dt="2024-06-10T15:45:49.007" v="136" actId="20577"/>
          <ac:spMkLst>
            <pc:docMk/>
            <pc:sldMk cId="502785453" sldId="4996"/>
            <ac:spMk id="4" creationId="{A68055C5-C3B2-54D4-BDF8-80FA55C8F1BD}"/>
          </ac:spMkLst>
        </pc:spChg>
      </pc:sldChg>
      <pc:sldChg chg="del">
        <pc:chgData name="Elgee, Jeffrey (SPAC/PSPC)" userId="S::jeffrey.elgee@tpsgc-pwgsc.gc.ca::e10f0e9c-c03f-4fde-9113-11216b420c44" providerId="AD" clId="Web-{39BD275A-D88A-FBF0-2652-96870C031F07}" dt="2024-06-10T15:39:07.022" v="19"/>
        <pc:sldMkLst>
          <pc:docMk/>
          <pc:sldMk cId="1601877447" sldId="5006"/>
        </pc:sldMkLst>
      </pc:sldChg>
      <pc:sldChg chg="ord">
        <pc:chgData name="Elgee, Jeffrey (SPAC/PSPC)" userId="S::jeffrey.elgee@tpsgc-pwgsc.gc.ca::e10f0e9c-c03f-4fde-9113-11216b420c44" providerId="AD" clId="Web-{39BD275A-D88A-FBF0-2652-96870C031F07}" dt="2024-06-10T15:34:12.804" v="1"/>
        <pc:sldMkLst>
          <pc:docMk/>
          <pc:sldMk cId="257696756" sldId="5009"/>
        </pc:sldMkLst>
      </pc:sldChg>
      <pc:sldChg chg="modSp ord">
        <pc:chgData name="Elgee, Jeffrey (SPAC/PSPC)" userId="S::jeffrey.elgee@tpsgc-pwgsc.gc.ca::e10f0e9c-c03f-4fde-9113-11216b420c44" providerId="AD" clId="Web-{39BD275A-D88A-FBF0-2652-96870C031F07}" dt="2024-06-10T15:36:23.804" v="18" actId="20577"/>
        <pc:sldMkLst>
          <pc:docMk/>
          <pc:sldMk cId="1717449089" sldId="5011"/>
        </pc:sldMkLst>
        <pc:spChg chg="mod">
          <ac:chgData name="Elgee, Jeffrey (SPAC/PSPC)" userId="S::jeffrey.elgee@tpsgc-pwgsc.gc.ca::e10f0e9c-c03f-4fde-9113-11216b420c44" providerId="AD" clId="Web-{39BD275A-D88A-FBF0-2652-96870C031F07}" dt="2024-06-10T15:36:23.804" v="18" actId="20577"/>
          <ac:spMkLst>
            <pc:docMk/>
            <pc:sldMk cId="1717449089" sldId="5011"/>
            <ac:spMk id="3" creationId="{DE69AC7C-2B0D-CF31-48EE-53792B4D724E}"/>
          </ac:spMkLst>
        </pc:spChg>
      </pc:sldChg>
    </pc:docChg>
  </pc:docChgLst>
  <pc:docChgLst>
    <pc:chgData name="Elgee, Jeffrey (SPAC/PSPC)" userId="S::jeffrey.elgee@tpsgc-pwgsc.gc.ca::e10f0e9c-c03f-4fde-9113-11216b420c44" providerId="AD" clId="Web-{1B33E0D5-426C-3451-2EA0-D8D96C97978D}"/>
    <pc:docChg chg="modSld">
      <pc:chgData name="Elgee, Jeffrey (SPAC/PSPC)" userId="S::jeffrey.elgee@tpsgc-pwgsc.gc.ca::e10f0e9c-c03f-4fde-9113-11216b420c44" providerId="AD" clId="Web-{1B33E0D5-426C-3451-2EA0-D8D96C97978D}" dt="2024-06-12T16:52:30.593" v="136" actId="20577"/>
      <pc:docMkLst>
        <pc:docMk/>
      </pc:docMkLst>
      <pc:sldChg chg="addSp modSp">
        <pc:chgData name="Elgee, Jeffrey (SPAC/PSPC)" userId="S::jeffrey.elgee@tpsgc-pwgsc.gc.ca::e10f0e9c-c03f-4fde-9113-11216b420c44" providerId="AD" clId="Web-{1B33E0D5-426C-3451-2EA0-D8D96C97978D}" dt="2024-06-12T16:52:30.593" v="136" actId="20577"/>
        <pc:sldMkLst>
          <pc:docMk/>
          <pc:sldMk cId="3716027044" sldId="5010"/>
        </pc:sldMkLst>
        <pc:spChg chg="add mod">
          <ac:chgData name="Elgee, Jeffrey (SPAC/PSPC)" userId="S::jeffrey.elgee@tpsgc-pwgsc.gc.ca::e10f0e9c-c03f-4fde-9113-11216b420c44" providerId="AD" clId="Web-{1B33E0D5-426C-3451-2EA0-D8D96C97978D}" dt="2024-06-12T16:52:30.593" v="136" actId="20577"/>
          <ac:spMkLst>
            <pc:docMk/>
            <pc:sldMk cId="3716027044" sldId="5010"/>
            <ac:spMk id="3" creationId="{7CFBC1A6-417D-60C5-7EDD-71952C635E89}"/>
          </ac:spMkLst>
        </pc:spChg>
      </pc:sldChg>
    </pc:docChg>
  </pc:docChgLst>
  <pc:docChgLst>
    <pc:chgData name="Elgee, Jeffrey (SPAC/PSPC)" userId="S::jeffrey.elgee@tpsgc-pwgsc.gc.ca::e10f0e9c-c03f-4fde-9113-11216b420c44" providerId="AD" clId="Web-{BC4256F7-148A-78B6-A9ED-5045FE6BE00A}"/>
    <pc:docChg chg="addSld modSld">
      <pc:chgData name="Elgee, Jeffrey (SPAC/PSPC)" userId="S::jeffrey.elgee@tpsgc-pwgsc.gc.ca::e10f0e9c-c03f-4fde-9113-11216b420c44" providerId="AD" clId="Web-{BC4256F7-148A-78B6-A9ED-5045FE6BE00A}" dt="2024-06-05T18:27:45.901" v="15" actId="1076"/>
      <pc:docMkLst>
        <pc:docMk/>
      </pc:docMkLst>
      <pc:sldChg chg="addSp delSp modSp">
        <pc:chgData name="Elgee, Jeffrey (SPAC/PSPC)" userId="S::jeffrey.elgee@tpsgc-pwgsc.gc.ca::e10f0e9c-c03f-4fde-9113-11216b420c44" providerId="AD" clId="Web-{BC4256F7-148A-78B6-A9ED-5045FE6BE00A}" dt="2024-06-05T18:27:45.901" v="15" actId="1076"/>
        <pc:sldMkLst>
          <pc:docMk/>
          <pc:sldMk cId="3194185217" sldId="5000"/>
        </pc:sldMkLst>
        <pc:spChg chg="del">
          <ac:chgData name="Elgee, Jeffrey (SPAC/PSPC)" userId="S::jeffrey.elgee@tpsgc-pwgsc.gc.ca::e10f0e9c-c03f-4fde-9113-11216b420c44" providerId="AD" clId="Web-{BC4256F7-148A-78B6-A9ED-5045FE6BE00A}" dt="2024-06-05T18:27:37.370" v="14"/>
          <ac:spMkLst>
            <pc:docMk/>
            <pc:sldMk cId="3194185217" sldId="5000"/>
            <ac:spMk id="4" creationId="{58011242-3B58-087A-52DA-31351CD501E0}"/>
          </ac:spMkLst>
        </pc:spChg>
        <pc:spChg chg="mod">
          <ac:chgData name="Elgee, Jeffrey (SPAC/PSPC)" userId="S::jeffrey.elgee@tpsgc-pwgsc.gc.ca::e10f0e9c-c03f-4fde-9113-11216b420c44" providerId="AD" clId="Web-{BC4256F7-148A-78B6-A9ED-5045FE6BE00A}" dt="2024-06-05T18:11:14.068" v="11" actId="1076"/>
          <ac:spMkLst>
            <pc:docMk/>
            <pc:sldMk cId="3194185217" sldId="5000"/>
            <ac:spMk id="69" creationId="{CDB7C5CD-F4AC-8A66-5378-BF3E4CB2B2A8}"/>
          </ac:spMkLst>
        </pc:spChg>
        <pc:grpChg chg="mod">
          <ac:chgData name="Elgee, Jeffrey (SPAC/PSPC)" userId="S::jeffrey.elgee@tpsgc-pwgsc.gc.ca::e10f0e9c-c03f-4fde-9113-11216b420c44" providerId="AD" clId="Web-{BC4256F7-148A-78B6-A9ED-5045FE6BE00A}" dt="2024-06-05T18:11:07.614" v="10" actId="1076"/>
          <ac:grpSpMkLst>
            <pc:docMk/>
            <pc:sldMk cId="3194185217" sldId="5000"/>
            <ac:grpSpMk id="3" creationId="{EAFCA7DA-B3A3-40D1-F2DD-88BF94C0FDEE}"/>
          </ac:grpSpMkLst>
        </pc:grpChg>
        <pc:grpChg chg="add mod">
          <ac:chgData name="Elgee, Jeffrey (SPAC/PSPC)" userId="S::jeffrey.elgee@tpsgc-pwgsc.gc.ca::e10f0e9c-c03f-4fde-9113-11216b420c44" providerId="AD" clId="Web-{BC4256F7-148A-78B6-A9ED-5045FE6BE00A}" dt="2024-06-05T18:27:45.901" v="15" actId="1076"/>
          <ac:grpSpMkLst>
            <pc:docMk/>
            <pc:sldMk cId="3194185217" sldId="5000"/>
            <ac:grpSpMk id="110" creationId="{1CB9BAB3-39DC-FD22-E6E1-937E3162FB5C}"/>
          </ac:grpSpMkLst>
        </pc:grpChg>
      </pc:sldChg>
      <pc:sldChg chg="add replId">
        <pc:chgData name="Elgee, Jeffrey (SPAC/PSPC)" userId="S::jeffrey.elgee@tpsgc-pwgsc.gc.ca::e10f0e9c-c03f-4fde-9113-11216b420c44" providerId="AD" clId="Web-{BC4256F7-148A-78B6-A9ED-5045FE6BE00A}" dt="2024-06-05T18:10:23.067" v="1"/>
        <pc:sldMkLst>
          <pc:docMk/>
          <pc:sldMk cId="3820944322" sldId="5005"/>
        </pc:sldMkLst>
      </pc:sldChg>
    </pc:docChg>
  </pc:docChgLst>
  <pc:docChgLst>
    <pc:chgData name="Elgee, Jeffrey (SPAC/PSPC)" userId="e10f0e9c-c03f-4fde-9113-11216b420c44" providerId="ADAL" clId="{8A22DB22-CE08-4237-BAFA-661B83772496}"/>
    <pc:docChg chg="undo redo custSel addSld delSld modSld">
      <pc:chgData name="Elgee, Jeffrey (SPAC/PSPC)" userId="e10f0e9c-c03f-4fde-9113-11216b420c44" providerId="ADAL" clId="{8A22DB22-CE08-4237-BAFA-661B83772496}" dt="2024-06-12T14:02:37.622" v="3537" actId="13926"/>
      <pc:docMkLst>
        <pc:docMk/>
      </pc:docMkLst>
      <pc:sldChg chg="addSp delSp modSp add mod modClrScheme chgLayout modNotesTx">
        <pc:chgData name="Elgee, Jeffrey (SPAC/PSPC)" userId="e10f0e9c-c03f-4fde-9113-11216b420c44" providerId="ADAL" clId="{8A22DB22-CE08-4237-BAFA-661B83772496}" dt="2024-06-10T20:05:12.901" v="2478" actId="20577"/>
        <pc:sldMkLst>
          <pc:docMk/>
          <pc:sldMk cId="1875387166" sldId="261"/>
        </pc:sldMkLst>
        <pc:spChg chg="add del mod ord">
          <ac:chgData name="Elgee, Jeffrey (SPAC/PSPC)" userId="e10f0e9c-c03f-4fde-9113-11216b420c44" providerId="ADAL" clId="{8A22DB22-CE08-4237-BAFA-661B83772496}" dt="2024-06-06T18:02:01.430" v="925" actId="478"/>
          <ac:spMkLst>
            <pc:docMk/>
            <pc:sldMk cId="1875387166" sldId="261"/>
            <ac:spMk id="2" creationId="{21AE3424-C166-D6DD-B860-0627A0DBBDE0}"/>
          </ac:spMkLst>
        </pc:spChg>
        <pc:spChg chg="add del mod ord">
          <ac:chgData name="Elgee, Jeffrey (SPAC/PSPC)" userId="e10f0e9c-c03f-4fde-9113-11216b420c44" providerId="ADAL" clId="{8A22DB22-CE08-4237-BAFA-661B83772496}" dt="2024-06-06T18:02:05.177" v="926" actId="478"/>
          <ac:spMkLst>
            <pc:docMk/>
            <pc:sldMk cId="1875387166" sldId="261"/>
            <ac:spMk id="3" creationId="{DD28ADE1-77A9-8DDE-665F-CE2CD7213E62}"/>
          </ac:spMkLst>
        </pc:spChg>
        <pc:spChg chg="add del mod">
          <ac:chgData name="Elgee, Jeffrey (SPAC/PSPC)" userId="e10f0e9c-c03f-4fde-9113-11216b420c44" providerId="ADAL" clId="{8A22DB22-CE08-4237-BAFA-661B83772496}" dt="2024-06-06T18:05:34.072" v="929"/>
          <ac:spMkLst>
            <pc:docMk/>
            <pc:sldMk cId="1875387166" sldId="261"/>
            <ac:spMk id="4" creationId="{B2FC2CBC-9439-436F-1EB7-34B0D07AB7E0}"/>
          </ac:spMkLst>
        </pc:spChg>
        <pc:spChg chg="del">
          <ac:chgData name="Elgee, Jeffrey (SPAC/PSPC)" userId="e10f0e9c-c03f-4fde-9113-11216b420c44" providerId="ADAL" clId="{8A22DB22-CE08-4237-BAFA-661B83772496}" dt="2024-06-06T18:24:31.193" v="1266" actId="478"/>
          <ac:spMkLst>
            <pc:docMk/>
            <pc:sldMk cId="1875387166" sldId="261"/>
            <ac:spMk id="5" creationId="{E1829E29-EF69-4153-95EC-9C1110DC19B6}"/>
          </ac:spMkLst>
        </pc:spChg>
        <pc:spChg chg="mod ord">
          <ac:chgData name="Elgee, Jeffrey (SPAC/PSPC)" userId="e10f0e9c-c03f-4fde-9113-11216b420c44" providerId="ADAL" clId="{8A22DB22-CE08-4237-BAFA-661B83772496}" dt="2024-06-06T18:01:53.327" v="924" actId="700"/>
          <ac:spMkLst>
            <pc:docMk/>
            <pc:sldMk cId="1875387166" sldId="261"/>
            <ac:spMk id="7" creationId="{0E5312BC-D894-4EF1-B411-739DA565E3FB}"/>
          </ac:spMkLst>
        </pc:spChg>
        <pc:spChg chg="add mod">
          <ac:chgData name="Elgee, Jeffrey (SPAC/PSPC)" userId="e10f0e9c-c03f-4fde-9113-11216b420c44" providerId="ADAL" clId="{8A22DB22-CE08-4237-BAFA-661B83772496}" dt="2024-06-06T18:36:09.811" v="1399" actId="207"/>
          <ac:spMkLst>
            <pc:docMk/>
            <pc:sldMk cId="1875387166" sldId="261"/>
            <ac:spMk id="10" creationId="{3D47C0AB-1ACB-3694-CE31-D36104FDCD68}"/>
          </ac:spMkLst>
        </pc:spChg>
        <pc:spChg chg="mod">
          <ac:chgData name="Elgee, Jeffrey (SPAC/PSPC)" userId="e10f0e9c-c03f-4fde-9113-11216b420c44" providerId="ADAL" clId="{8A22DB22-CE08-4237-BAFA-661B83772496}" dt="2024-06-06T18:35:44.783" v="1396" actId="208"/>
          <ac:spMkLst>
            <pc:docMk/>
            <pc:sldMk cId="1875387166" sldId="261"/>
            <ac:spMk id="40" creationId="{82E706F3-FA6A-1345-B840-7541D93DEE0B}"/>
          </ac:spMkLst>
        </pc:spChg>
        <pc:spChg chg="mod">
          <ac:chgData name="Elgee, Jeffrey (SPAC/PSPC)" userId="e10f0e9c-c03f-4fde-9113-11216b420c44" providerId="ADAL" clId="{8A22DB22-CE08-4237-BAFA-661B83772496}" dt="2024-06-06T18:37:07.041" v="1408" actId="1076"/>
          <ac:spMkLst>
            <pc:docMk/>
            <pc:sldMk cId="1875387166" sldId="261"/>
            <ac:spMk id="51" creationId="{A42873D4-5793-384D-9BE3-818F527827B0}"/>
          </ac:spMkLst>
        </pc:spChg>
        <pc:spChg chg="mod">
          <ac:chgData name="Elgee, Jeffrey (SPAC/PSPC)" userId="e10f0e9c-c03f-4fde-9113-11216b420c44" providerId="ADAL" clId="{8A22DB22-CE08-4237-BAFA-661B83772496}" dt="2024-06-06T18:36:59.056" v="1406" actId="207"/>
          <ac:spMkLst>
            <pc:docMk/>
            <pc:sldMk cId="1875387166" sldId="261"/>
            <ac:spMk id="52" creationId="{E504786C-20B8-044D-B38E-955BC8F44CEA}"/>
          </ac:spMkLst>
        </pc:spChg>
        <pc:spChg chg="mod">
          <ac:chgData name="Elgee, Jeffrey (SPAC/PSPC)" userId="e10f0e9c-c03f-4fde-9113-11216b420c44" providerId="ADAL" clId="{8A22DB22-CE08-4237-BAFA-661B83772496}" dt="2024-06-06T18:36:41.154" v="1404" actId="207"/>
          <ac:spMkLst>
            <pc:docMk/>
            <pc:sldMk cId="1875387166" sldId="261"/>
            <ac:spMk id="54" creationId="{5490FC9F-889D-A044-9A24-51CB6BB0725C}"/>
          </ac:spMkLst>
        </pc:spChg>
        <pc:spChg chg="mod">
          <ac:chgData name="Elgee, Jeffrey (SPAC/PSPC)" userId="e10f0e9c-c03f-4fde-9113-11216b420c44" providerId="ADAL" clId="{8A22DB22-CE08-4237-BAFA-661B83772496}" dt="2024-06-06T18:36:50.358" v="1405" actId="207"/>
          <ac:spMkLst>
            <pc:docMk/>
            <pc:sldMk cId="1875387166" sldId="261"/>
            <ac:spMk id="55" creationId="{C65A198B-1883-1A4B-A8B4-DD725DC9EB17}"/>
          </ac:spMkLst>
        </pc:spChg>
        <pc:spChg chg="mod">
          <ac:chgData name="Elgee, Jeffrey (SPAC/PSPC)" userId="e10f0e9c-c03f-4fde-9113-11216b420c44" providerId="ADAL" clId="{8A22DB22-CE08-4237-BAFA-661B83772496}" dt="2024-06-06T18:35:56.864" v="1397" actId="207"/>
          <ac:spMkLst>
            <pc:docMk/>
            <pc:sldMk cId="1875387166" sldId="261"/>
            <ac:spMk id="56" creationId="{432E7640-9E73-0D40-A6F4-AC27C1BD258B}"/>
          </ac:spMkLst>
        </pc:spChg>
        <pc:spChg chg="mod">
          <ac:chgData name="Elgee, Jeffrey (SPAC/PSPC)" userId="e10f0e9c-c03f-4fde-9113-11216b420c44" providerId="ADAL" clId="{8A22DB22-CE08-4237-BAFA-661B83772496}" dt="2024-06-10T20:00:49.490" v="2438" actId="20577"/>
          <ac:spMkLst>
            <pc:docMk/>
            <pc:sldMk cId="1875387166" sldId="261"/>
            <ac:spMk id="57" creationId="{9A6652DC-5AC2-7644-AD89-4F3E30042289}"/>
          </ac:spMkLst>
        </pc:spChg>
        <pc:spChg chg="mod">
          <ac:chgData name="Elgee, Jeffrey (SPAC/PSPC)" userId="e10f0e9c-c03f-4fde-9113-11216b420c44" providerId="ADAL" clId="{8A22DB22-CE08-4237-BAFA-661B83772496}" dt="2024-06-06T18:36:14.697" v="1400" actId="207"/>
          <ac:spMkLst>
            <pc:docMk/>
            <pc:sldMk cId="1875387166" sldId="261"/>
            <ac:spMk id="59" creationId="{F1F230E2-1267-6E4F-8031-0EC3BDB25111}"/>
          </ac:spMkLst>
        </pc:spChg>
        <pc:spChg chg="del">
          <ac:chgData name="Elgee, Jeffrey (SPAC/PSPC)" userId="e10f0e9c-c03f-4fde-9113-11216b420c44" providerId="ADAL" clId="{8A22DB22-CE08-4237-BAFA-661B83772496}" dt="2024-06-06T18:01:04.082" v="918" actId="478"/>
          <ac:spMkLst>
            <pc:docMk/>
            <pc:sldMk cId="1875387166" sldId="261"/>
            <ac:spMk id="60" creationId="{6A8488CB-8948-F140-BF50-ECA07AD8109D}"/>
          </ac:spMkLst>
        </pc:spChg>
        <pc:spChg chg="del">
          <ac:chgData name="Elgee, Jeffrey (SPAC/PSPC)" userId="e10f0e9c-c03f-4fde-9113-11216b420c44" providerId="ADAL" clId="{8A22DB22-CE08-4237-BAFA-661B83772496}" dt="2024-06-06T18:01:00.163" v="917" actId="478"/>
          <ac:spMkLst>
            <pc:docMk/>
            <pc:sldMk cId="1875387166" sldId="261"/>
            <ac:spMk id="61" creationId="{ACE322D1-BE34-5B42-9EBA-164E4ED1DED1}"/>
          </ac:spMkLst>
        </pc:spChg>
        <pc:spChg chg="del">
          <ac:chgData name="Elgee, Jeffrey (SPAC/PSPC)" userId="e10f0e9c-c03f-4fde-9113-11216b420c44" providerId="ADAL" clId="{8A22DB22-CE08-4237-BAFA-661B83772496}" dt="2024-06-06T18:01:08.514" v="919" actId="478"/>
          <ac:spMkLst>
            <pc:docMk/>
            <pc:sldMk cId="1875387166" sldId="261"/>
            <ac:spMk id="62" creationId="{EC0B0DF1-5041-1E4C-8D53-689D605A0A6F}"/>
          </ac:spMkLst>
        </pc:spChg>
        <pc:spChg chg="del">
          <ac:chgData name="Elgee, Jeffrey (SPAC/PSPC)" userId="e10f0e9c-c03f-4fde-9113-11216b420c44" providerId="ADAL" clId="{8A22DB22-CE08-4237-BAFA-661B83772496}" dt="2024-06-06T18:01:12.675" v="920" actId="478"/>
          <ac:spMkLst>
            <pc:docMk/>
            <pc:sldMk cId="1875387166" sldId="261"/>
            <ac:spMk id="63" creationId="{1182BBD0-A845-5548-A48D-DFC7538124C2}"/>
          </ac:spMkLst>
        </pc:spChg>
        <pc:spChg chg="del">
          <ac:chgData name="Elgee, Jeffrey (SPAC/PSPC)" userId="e10f0e9c-c03f-4fde-9113-11216b420c44" providerId="ADAL" clId="{8A22DB22-CE08-4237-BAFA-661B83772496}" dt="2024-06-06T18:01:16.578" v="921" actId="478"/>
          <ac:spMkLst>
            <pc:docMk/>
            <pc:sldMk cId="1875387166" sldId="261"/>
            <ac:spMk id="64" creationId="{4F2BC55B-75CF-7B4B-9C75-E00F26A8F5B8}"/>
          </ac:spMkLst>
        </pc:spChg>
        <pc:cxnChg chg="add del mod">
          <ac:chgData name="Elgee, Jeffrey (SPAC/PSPC)" userId="e10f0e9c-c03f-4fde-9113-11216b420c44" providerId="ADAL" clId="{8A22DB22-CE08-4237-BAFA-661B83772496}" dt="2024-06-06T18:26:49.002" v="1290" actId="478"/>
          <ac:cxnSpMkLst>
            <pc:docMk/>
            <pc:sldMk cId="1875387166" sldId="261"/>
            <ac:cxnSpMk id="12" creationId="{BDE86105-CA93-DFEC-23D1-4FA46A0C45FB}"/>
          </ac:cxnSpMkLst>
        </pc:cxnChg>
        <pc:cxnChg chg="add del mod">
          <ac:chgData name="Elgee, Jeffrey (SPAC/PSPC)" userId="e10f0e9c-c03f-4fde-9113-11216b420c44" providerId="ADAL" clId="{8A22DB22-CE08-4237-BAFA-661B83772496}" dt="2024-06-06T18:26:48.181" v="1289" actId="478"/>
          <ac:cxnSpMkLst>
            <pc:docMk/>
            <pc:sldMk cId="1875387166" sldId="261"/>
            <ac:cxnSpMk id="13" creationId="{017A6896-7915-1C45-D73B-9C4D43C019AD}"/>
          </ac:cxnSpMkLst>
        </pc:cxnChg>
        <pc:cxnChg chg="add del mod">
          <ac:chgData name="Elgee, Jeffrey (SPAC/PSPC)" userId="e10f0e9c-c03f-4fde-9113-11216b420c44" providerId="ADAL" clId="{8A22DB22-CE08-4237-BAFA-661B83772496}" dt="2024-06-06T18:26:47.440" v="1288" actId="478"/>
          <ac:cxnSpMkLst>
            <pc:docMk/>
            <pc:sldMk cId="1875387166" sldId="261"/>
            <ac:cxnSpMk id="16" creationId="{42F01C50-1EA6-FC78-46ED-8742A7F0E7A2}"/>
          </ac:cxnSpMkLst>
        </pc:cxnChg>
        <pc:cxnChg chg="mod">
          <ac:chgData name="Elgee, Jeffrey (SPAC/PSPC)" userId="e10f0e9c-c03f-4fde-9113-11216b420c44" providerId="ADAL" clId="{8A22DB22-CE08-4237-BAFA-661B83772496}" dt="2024-06-06T18:36:25.282" v="1402" actId="208"/>
          <ac:cxnSpMkLst>
            <pc:docMk/>
            <pc:sldMk cId="1875387166" sldId="261"/>
            <ac:cxnSpMk id="45" creationId="{136D3FD2-6787-4A4F-91CE-8770E54F376B}"/>
          </ac:cxnSpMkLst>
        </pc:cxnChg>
        <pc:cxnChg chg="mod">
          <ac:chgData name="Elgee, Jeffrey (SPAC/PSPC)" userId="e10f0e9c-c03f-4fde-9113-11216b420c44" providerId="ADAL" clId="{8A22DB22-CE08-4237-BAFA-661B83772496}" dt="2024-06-06T18:36:19.086" v="1401" actId="208"/>
          <ac:cxnSpMkLst>
            <pc:docMk/>
            <pc:sldMk cId="1875387166" sldId="261"/>
            <ac:cxnSpMk id="48" creationId="{349CE16F-30BD-634E-AC0B-DF9FE158DBDD}"/>
          </ac:cxnSpMkLst>
        </pc:cxnChg>
      </pc:sldChg>
      <pc:sldChg chg="modSp mod">
        <pc:chgData name="Elgee, Jeffrey (SPAC/PSPC)" userId="e10f0e9c-c03f-4fde-9113-11216b420c44" providerId="ADAL" clId="{8A22DB22-CE08-4237-BAFA-661B83772496}" dt="2024-06-12T13:35:50.609" v="3213" actId="20577"/>
        <pc:sldMkLst>
          <pc:docMk/>
          <pc:sldMk cId="1739606208" sldId="384"/>
        </pc:sldMkLst>
        <pc:spChg chg="mod">
          <ac:chgData name="Elgee, Jeffrey (SPAC/PSPC)" userId="e10f0e9c-c03f-4fde-9113-11216b420c44" providerId="ADAL" clId="{8A22DB22-CE08-4237-BAFA-661B83772496}" dt="2024-06-12T13:35:50.609" v="3213" actId="20577"/>
          <ac:spMkLst>
            <pc:docMk/>
            <pc:sldMk cId="1739606208" sldId="384"/>
            <ac:spMk id="2" creationId="{00000000-0000-0000-0000-000000000000}"/>
          </ac:spMkLst>
        </pc:spChg>
      </pc:sldChg>
      <pc:sldChg chg="modSp mod addCm">
        <pc:chgData name="Elgee, Jeffrey (SPAC/PSPC)" userId="e10f0e9c-c03f-4fde-9113-11216b420c44" providerId="ADAL" clId="{8A22DB22-CE08-4237-BAFA-661B83772496}" dt="2024-06-12T13:48:33.339" v="3382"/>
        <pc:sldMkLst>
          <pc:docMk/>
          <pc:sldMk cId="3291831031" sldId="4970"/>
        </pc:sldMkLst>
        <pc:spChg chg="mod">
          <ac:chgData name="Elgee, Jeffrey (SPAC/PSPC)" userId="e10f0e9c-c03f-4fde-9113-11216b420c44" providerId="ADAL" clId="{8A22DB22-CE08-4237-BAFA-661B83772496}" dt="2024-06-06T14:24:34.934" v="873" actId="1076"/>
          <ac:spMkLst>
            <pc:docMk/>
            <pc:sldMk cId="3291831031" sldId="4970"/>
            <ac:spMk id="2" creationId="{C74025A8-BF11-4E8B-9432-F1A9787EEC2E}"/>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8:33.339" v="3382"/>
              <pc2:cmMkLst xmlns:pc2="http://schemas.microsoft.com/office/powerpoint/2019/9/main/command">
                <pc:docMk/>
                <pc:sldMk cId="3291831031" sldId="4970"/>
                <pc2:cmMk id="{479CF1C4-546D-448B-B989-CB381F9832A6}"/>
              </pc2:cmMkLst>
            </pc226:cmChg>
          </p:ext>
        </pc:extLst>
      </pc:sldChg>
      <pc:sldChg chg="modSp mod modCm">
        <pc:chgData name="Elgee, Jeffrey (SPAC/PSPC)" userId="e10f0e9c-c03f-4fde-9113-11216b420c44" providerId="ADAL" clId="{8A22DB22-CE08-4237-BAFA-661B83772496}" dt="2024-06-07T19:41:35.730" v="1960" actId="21"/>
        <pc:sldMkLst>
          <pc:docMk/>
          <pc:sldMk cId="4155933925" sldId="4984"/>
        </pc:sldMkLst>
        <pc:spChg chg="mod">
          <ac:chgData name="Elgee, Jeffrey (SPAC/PSPC)" userId="e10f0e9c-c03f-4fde-9113-11216b420c44" providerId="ADAL" clId="{8A22DB22-CE08-4237-BAFA-661B83772496}" dt="2024-06-07T19:41:35.730" v="1960" actId="21"/>
          <ac:spMkLst>
            <pc:docMk/>
            <pc:sldMk cId="4155933925" sldId="4984"/>
            <ac:spMk id="11" creationId="{82F5B177-C67A-375D-E48A-2DABED3F8ED2}"/>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65D6F518-B3A5-41F4-BB91-094F93D09B64}"/>
              </pc2:cmMkLst>
            </pc226:cmChg>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90BDC0CE-7C6D-4B9F-ACBA-DAFCE409FDE5}"/>
              </pc2:cmMkLst>
            </pc226:cmChg>
          </p:ext>
        </pc:extLst>
      </pc:sldChg>
      <pc:sldChg chg="addSp delSp modSp mod modClrScheme chgLayout">
        <pc:chgData name="Elgee, Jeffrey (SPAC/PSPC)" userId="e10f0e9c-c03f-4fde-9113-11216b420c44" providerId="ADAL" clId="{8A22DB22-CE08-4237-BAFA-661B83772496}" dt="2024-06-06T14:59:48.682" v="896" actId="207"/>
        <pc:sldMkLst>
          <pc:docMk/>
          <pc:sldMk cId="625183133" sldId="4986"/>
        </pc:sldMkLst>
        <pc:spChg chg="mod ord">
          <ac:chgData name="Elgee, Jeffrey (SPAC/PSPC)" userId="e10f0e9c-c03f-4fde-9113-11216b420c44" providerId="ADAL" clId="{8A22DB22-CE08-4237-BAFA-661B83772496}" dt="2024-06-06T14:59:28.165" v="892" actId="700"/>
          <ac:spMkLst>
            <pc:docMk/>
            <pc:sldMk cId="625183133" sldId="4986"/>
            <ac:spMk id="2" creationId="{459AFBF6-A3FE-12ED-8681-E058ECB7745D}"/>
          </ac:spMkLst>
        </pc:spChg>
        <pc:spChg chg="mod">
          <ac:chgData name="Elgee, Jeffrey (SPAC/PSPC)" userId="e10f0e9c-c03f-4fde-9113-11216b420c44" providerId="ADAL" clId="{8A22DB22-CE08-4237-BAFA-661B83772496}" dt="2024-06-06T14:59:48.682" v="896" actId="207"/>
          <ac:spMkLst>
            <pc:docMk/>
            <pc:sldMk cId="625183133" sldId="4986"/>
            <ac:spMk id="3" creationId="{CC8B02F3-0C27-03C9-5D56-EC07236B6660}"/>
          </ac:spMkLst>
        </pc:spChg>
        <pc:spChg chg="add del mod ord">
          <ac:chgData name="Elgee, Jeffrey (SPAC/PSPC)" userId="e10f0e9c-c03f-4fde-9113-11216b420c44" providerId="ADAL" clId="{8A22DB22-CE08-4237-BAFA-661B83772496}" dt="2024-06-06T14:59:30.741" v="893" actId="478"/>
          <ac:spMkLst>
            <pc:docMk/>
            <pc:sldMk cId="625183133" sldId="4986"/>
            <ac:spMk id="4" creationId="{1F8E1680-CC93-45A5-2045-A9447E648F11}"/>
          </ac:spMkLst>
        </pc:spChg>
        <pc:spChg chg="add del mod ord">
          <ac:chgData name="Elgee, Jeffrey (SPAC/PSPC)" userId="e10f0e9c-c03f-4fde-9113-11216b420c44" providerId="ADAL" clId="{8A22DB22-CE08-4237-BAFA-661B83772496}" dt="2024-06-06T14:59:34.250" v="894" actId="478"/>
          <ac:spMkLst>
            <pc:docMk/>
            <pc:sldMk cId="625183133" sldId="4986"/>
            <ac:spMk id="5" creationId="{8F31D059-5A65-4A74-FCD6-C364B418E5D7}"/>
          </ac:spMkLst>
        </pc:spChg>
      </pc:sldChg>
      <pc:sldChg chg="del">
        <pc:chgData name="Elgee, Jeffrey (SPAC/PSPC)" userId="e10f0e9c-c03f-4fde-9113-11216b420c44" providerId="ADAL" clId="{8A22DB22-CE08-4237-BAFA-661B83772496}" dt="2024-06-07T18:41:16.474" v="1784" actId="47"/>
        <pc:sldMkLst>
          <pc:docMk/>
          <pc:sldMk cId="2433718045" sldId="4989"/>
        </pc:sldMkLst>
      </pc:sldChg>
      <pc:sldChg chg="modSp mod modCm">
        <pc:chgData name="Elgee, Jeffrey (SPAC/PSPC)" userId="e10f0e9c-c03f-4fde-9113-11216b420c44" providerId="ADAL" clId="{8A22DB22-CE08-4237-BAFA-661B83772496}" dt="2024-06-12T14:02:37.622" v="3537" actId="13926"/>
        <pc:sldMkLst>
          <pc:docMk/>
          <pc:sldMk cId="3633628159" sldId="4991"/>
        </pc:sldMkLst>
        <pc:spChg chg="mod">
          <ac:chgData name="Elgee, Jeffrey (SPAC/PSPC)" userId="e10f0e9c-c03f-4fde-9113-11216b420c44" providerId="ADAL" clId="{8A22DB22-CE08-4237-BAFA-661B83772496}" dt="2024-06-12T14:02:37.622" v="3537" actId="13926"/>
          <ac:spMkLst>
            <pc:docMk/>
            <pc:sldMk cId="3633628159" sldId="4991"/>
            <ac:spMk id="3" creationId="{DCBEA1C2-5E98-4F88-5BBE-88BF7785297A}"/>
          </ac:spMkLst>
        </pc:spChg>
        <pc:spChg chg="mod">
          <ac:chgData name="Elgee, Jeffrey (SPAC/PSPC)" userId="e10f0e9c-c03f-4fde-9113-11216b420c44" providerId="ADAL" clId="{8A22DB22-CE08-4237-BAFA-661B83772496}" dt="2024-06-12T14:02:05.923" v="3505"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D2CE9BCC-9530-493F-BC3F-9D47F64F0084}"/>
              </pc2:cmMkLst>
            </pc226:cmChg>
          </p:ext>
        </pc:extLst>
      </pc:sldChg>
      <pc:sldChg chg="modSp mod">
        <pc:chgData name="Elgee, Jeffrey (SPAC/PSPC)" userId="e10f0e9c-c03f-4fde-9113-11216b420c44" providerId="ADAL" clId="{8A22DB22-CE08-4237-BAFA-661B83772496}" dt="2024-06-12T13:55:24.034" v="3402" actId="20577"/>
        <pc:sldMkLst>
          <pc:docMk/>
          <pc:sldMk cId="388099589" sldId="4992"/>
        </pc:sldMkLst>
        <pc:spChg chg="mod">
          <ac:chgData name="Elgee, Jeffrey (SPAC/PSPC)" userId="e10f0e9c-c03f-4fde-9113-11216b420c44" providerId="ADAL" clId="{8A22DB22-CE08-4237-BAFA-661B83772496}" dt="2024-06-12T13:55:24.034" v="3402" actId="20577"/>
          <ac:spMkLst>
            <pc:docMk/>
            <pc:sldMk cId="388099589" sldId="4992"/>
            <ac:spMk id="15" creationId="{2A224E51-C8E2-AF04-0A70-65F6548C9FA5}"/>
          </ac:spMkLst>
        </pc:spChg>
        <pc:spChg chg="mod">
          <ac:chgData name="Elgee, Jeffrey (SPAC/PSPC)" userId="e10f0e9c-c03f-4fde-9113-11216b420c44" providerId="ADAL" clId="{8A22DB22-CE08-4237-BAFA-661B83772496}" dt="2024-06-11T13:10:43.262" v="3171" actId="1036"/>
          <ac:spMkLst>
            <pc:docMk/>
            <pc:sldMk cId="388099589" sldId="4992"/>
            <ac:spMk id="16" creationId="{DDBAA832-5D5B-F155-4F32-06C89A6062D9}"/>
          </ac:spMkLst>
        </pc:spChg>
        <pc:spChg chg="mod">
          <ac:chgData name="Elgee, Jeffrey (SPAC/PSPC)" userId="e10f0e9c-c03f-4fde-9113-11216b420c44" providerId="ADAL" clId="{8A22DB22-CE08-4237-BAFA-661B83772496}" dt="2024-06-11T13:10:43.262" v="3171" actId="1036"/>
          <ac:spMkLst>
            <pc:docMk/>
            <pc:sldMk cId="388099589" sldId="4992"/>
            <ac:spMk id="17" creationId="{03D46260-31B6-3CBA-D6E4-2A34CD363B83}"/>
          </ac:spMkLst>
        </pc:spChg>
        <pc:spChg chg="mod">
          <ac:chgData name="Elgee, Jeffrey (SPAC/PSPC)" userId="e10f0e9c-c03f-4fde-9113-11216b420c44" providerId="ADAL" clId="{8A22DB22-CE08-4237-BAFA-661B83772496}" dt="2024-06-11T13:10:43.262" v="3171" actId="1036"/>
          <ac:spMkLst>
            <pc:docMk/>
            <pc:sldMk cId="388099589" sldId="4992"/>
            <ac:spMk id="18" creationId="{4EF912C3-D6D2-8ADB-9455-F0BB3EFD9484}"/>
          </ac:spMkLst>
        </pc:spChg>
        <pc:spChg chg="mod">
          <ac:chgData name="Elgee, Jeffrey (SPAC/PSPC)" userId="e10f0e9c-c03f-4fde-9113-11216b420c44" providerId="ADAL" clId="{8A22DB22-CE08-4237-BAFA-661B83772496}" dt="2024-06-11T13:10:43.262" v="3171" actId="1036"/>
          <ac:spMkLst>
            <pc:docMk/>
            <pc:sldMk cId="388099589" sldId="4992"/>
            <ac:spMk id="19" creationId="{5DABBC32-D0F2-5FB4-F32B-6ACB5C70FCBB}"/>
          </ac:spMkLst>
        </pc:spChg>
        <pc:picChg chg="mod">
          <ac:chgData name="Elgee, Jeffrey (SPAC/PSPC)" userId="e10f0e9c-c03f-4fde-9113-11216b420c44" providerId="ADAL" clId="{8A22DB22-CE08-4237-BAFA-661B83772496}" dt="2024-06-11T13:10:43.262" v="3171" actId="1036"/>
          <ac:picMkLst>
            <pc:docMk/>
            <pc:sldMk cId="388099589" sldId="4992"/>
            <ac:picMk id="9" creationId="{CFECC87B-723E-8826-6C4D-682E01302215}"/>
          </ac:picMkLst>
        </pc:picChg>
        <pc:picChg chg="mod">
          <ac:chgData name="Elgee, Jeffrey (SPAC/PSPC)" userId="e10f0e9c-c03f-4fde-9113-11216b420c44" providerId="ADAL" clId="{8A22DB22-CE08-4237-BAFA-661B83772496}" dt="2024-06-11T13:10:43.262" v="3171" actId="1036"/>
          <ac:picMkLst>
            <pc:docMk/>
            <pc:sldMk cId="388099589" sldId="4992"/>
            <ac:picMk id="10" creationId="{EE1B7117-FE8F-8104-AF1D-A9871CD54FDE}"/>
          </ac:picMkLst>
        </pc:picChg>
        <pc:picChg chg="mod">
          <ac:chgData name="Elgee, Jeffrey (SPAC/PSPC)" userId="e10f0e9c-c03f-4fde-9113-11216b420c44" providerId="ADAL" clId="{8A22DB22-CE08-4237-BAFA-661B83772496}" dt="2024-06-11T13:10:43.262" v="3171" actId="1036"/>
          <ac:picMkLst>
            <pc:docMk/>
            <pc:sldMk cId="388099589" sldId="4992"/>
            <ac:picMk id="11" creationId="{0A95C047-D6CC-A24A-9FFE-34EA9062B06B}"/>
          </ac:picMkLst>
        </pc:picChg>
        <pc:picChg chg="mod">
          <ac:chgData name="Elgee, Jeffrey (SPAC/PSPC)" userId="e10f0e9c-c03f-4fde-9113-11216b420c44" providerId="ADAL" clId="{8A22DB22-CE08-4237-BAFA-661B83772496}" dt="2024-06-11T13:10:43.262" v="3171" actId="1036"/>
          <ac:picMkLst>
            <pc:docMk/>
            <pc:sldMk cId="388099589" sldId="4992"/>
            <ac:picMk id="13" creationId="{1BFE9BF1-5E6A-A995-0D24-DB7A9C3633D8}"/>
          </ac:picMkLst>
        </pc:picChg>
      </pc:sldChg>
      <pc:sldChg chg="addSp delSp modSp mod">
        <pc:chgData name="Elgee, Jeffrey (SPAC/PSPC)" userId="e10f0e9c-c03f-4fde-9113-11216b420c44" providerId="ADAL" clId="{8A22DB22-CE08-4237-BAFA-661B83772496}" dt="2024-06-10T20:41:50.960" v="2847" actId="207"/>
        <pc:sldMkLst>
          <pc:docMk/>
          <pc:sldMk cId="3248544414" sldId="4993"/>
        </pc:sldMkLst>
        <pc:spChg chg="add mod">
          <ac:chgData name="Elgee, Jeffrey (SPAC/PSPC)" userId="e10f0e9c-c03f-4fde-9113-11216b420c44" providerId="ADAL" clId="{8A22DB22-CE08-4237-BAFA-661B83772496}" dt="2024-06-10T20:39:46.958" v="2840" actId="1076"/>
          <ac:spMkLst>
            <pc:docMk/>
            <pc:sldMk cId="3248544414" sldId="4993"/>
            <ac:spMk id="2" creationId="{614254A6-86DE-4A21-B094-C9AE8BEEF21A}"/>
          </ac:spMkLst>
        </pc:spChg>
        <pc:spChg chg="add del mod ord">
          <ac:chgData name="Elgee, Jeffrey (SPAC/PSPC)" userId="e10f0e9c-c03f-4fde-9113-11216b420c44" providerId="ADAL" clId="{8A22DB22-CE08-4237-BAFA-661B83772496}" dt="2024-06-10T20:32:44.711" v="2690" actId="478"/>
          <ac:spMkLst>
            <pc:docMk/>
            <pc:sldMk cId="3248544414" sldId="4993"/>
            <ac:spMk id="3" creationId="{F95CECA6-4A4E-156D-139A-E979F1D2ABB8}"/>
          </ac:spMkLst>
        </pc:spChg>
        <pc:spChg chg="add del mod ord">
          <ac:chgData name="Elgee, Jeffrey (SPAC/PSPC)" userId="e10f0e9c-c03f-4fde-9113-11216b420c44" providerId="ADAL" clId="{8A22DB22-CE08-4237-BAFA-661B83772496}" dt="2024-06-10T20:32:46.766" v="2691" actId="478"/>
          <ac:spMkLst>
            <pc:docMk/>
            <pc:sldMk cId="3248544414" sldId="4993"/>
            <ac:spMk id="4" creationId="{FB8393D0-540E-520F-3722-304A8B9E4A6E}"/>
          </ac:spMkLst>
        </pc:spChg>
        <pc:spChg chg="add mod ord">
          <ac:chgData name="Elgee, Jeffrey (SPAC/PSPC)" userId="e10f0e9c-c03f-4fde-9113-11216b420c44" providerId="ADAL" clId="{8A22DB22-CE08-4237-BAFA-661B83772496}" dt="2024-06-10T20:31:44.996" v="2687" actId="171"/>
          <ac:spMkLst>
            <pc:docMk/>
            <pc:sldMk cId="3248544414" sldId="4993"/>
            <ac:spMk id="7" creationId="{11FE5FBD-BEBD-50CC-7437-2E3DD1DE0A7B}"/>
          </ac:spMkLst>
        </pc:spChg>
        <pc:spChg chg="add mod">
          <ac:chgData name="Elgee, Jeffrey (SPAC/PSPC)" userId="e10f0e9c-c03f-4fde-9113-11216b420c44" providerId="ADAL" clId="{8A22DB22-CE08-4237-BAFA-661B83772496}" dt="2024-06-10T20:39:10.958" v="2839" actId="1076"/>
          <ac:spMkLst>
            <pc:docMk/>
            <pc:sldMk cId="3248544414" sldId="4993"/>
            <ac:spMk id="10" creationId="{2EA7841F-B628-5763-87F4-5C2C97873218}"/>
          </ac:spMkLst>
        </pc:spChg>
        <pc:spChg chg="add mod">
          <ac:chgData name="Elgee, Jeffrey (SPAC/PSPC)" userId="e10f0e9c-c03f-4fde-9113-11216b420c44" providerId="ADAL" clId="{8A22DB22-CE08-4237-BAFA-661B83772496}" dt="2024-06-10T20:41:50.960" v="2847" actId="207"/>
          <ac:spMkLst>
            <pc:docMk/>
            <pc:sldMk cId="3248544414" sldId="4993"/>
            <ac:spMk id="13" creationId="{F4B3BF70-A09E-2CC1-D775-70C144DE22D1}"/>
          </ac:spMkLst>
        </pc:spChg>
        <pc:spChg chg="add mod">
          <ac:chgData name="Elgee, Jeffrey (SPAC/PSPC)" userId="e10f0e9c-c03f-4fde-9113-11216b420c44" providerId="ADAL" clId="{8A22DB22-CE08-4237-BAFA-661B83772496}" dt="2024-06-10T20:35:05.905" v="2702" actId="207"/>
          <ac:spMkLst>
            <pc:docMk/>
            <pc:sldMk cId="3248544414" sldId="4993"/>
            <ac:spMk id="14" creationId="{705E2902-213A-038E-CD60-7DF9BC6FF44E}"/>
          </ac:spMkLst>
        </pc:spChg>
        <pc:spChg chg="add del mod">
          <ac:chgData name="Elgee, Jeffrey (SPAC/PSPC)" userId="e10f0e9c-c03f-4fde-9113-11216b420c44" providerId="ADAL" clId="{8A22DB22-CE08-4237-BAFA-661B83772496}" dt="2024-06-10T20:36:12.027" v="2753"/>
          <ac:spMkLst>
            <pc:docMk/>
            <pc:sldMk cId="3248544414" sldId="4993"/>
            <ac:spMk id="15" creationId="{E5B14897-622A-D654-EBCD-A229EBDDE60C}"/>
          </ac:spMkLst>
        </pc:spChg>
        <pc:cxnChg chg="add del mod">
          <ac:chgData name="Elgee, Jeffrey (SPAC/PSPC)" userId="e10f0e9c-c03f-4fde-9113-11216b420c44" providerId="ADAL" clId="{8A22DB22-CE08-4237-BAFA-661B83772496}" dt="2024-06-10T20:31:39.056" v="2684" actId="478"/>
          <ac:cxnSpMkLst>
            <pc:docMk/>
            <pc:sldMk cId="3248544414" sldId="4993"/>
            <ac:cxnSpMk id="6" creationId="{4A0C8D12-0286-58EA-F2E2-B65FA972559B}"/>
          </ac:cxnSpMkLst>
        </pc:cxnChg>
      </pc:sldChg>
      <pc:sldChg chg="addSp modSp mod">
        <pc:chgData name="Elgee, Jeffrey (SPAC/PSPC)" userId="e10f0e9c-c03f-4fde-9113-11216b420c44" providerId="ADAL" clId="{8A22DB22-CE08-4237-BAFA-661B83772496}" dt="2024-06-11T12:56:55.173" v="2851" actId="1076"/>
        <pc:sldMkLst>
          <pc:docMk/>
          <pc:sldMk cId="2239565128" sldId="4994"/>
        </pc:sldMkLst>
        <pc:spChg chg="mod">
          <ac:chgData name="Elgee, Jeffrey (SPAC/PSPC)" userId="e10f0e9c-c03f-4fde-9113-11216b420c44" providerId="ADAL" clId="{8A22DB22-CE08-4237-BAFA-661B83772496}" dt="2024-06-10T20:41:57.616" v="2848" actId="1076"/>
          <ac:spMkLst>
            <pc:docMk/>
            <pc:sldMk cId="2239565128" sldId="4994"/>
            <ac:spMk id="3" creationId="{1CEF9E92-F5EA-929E-089A-77CB316CD4E6}"/>
          </ac:spMkLst>
        </pc:spChg>
        <pc:spChg chg="add mod">
          <ac:chgData name="Elgee, Jeffrey (SPAC/PSPC)" userId="e10f0e9c-c03f-4fde-9113-11216b420c44" providerId="ADAL" clId="{8A22DB22-CE08-4237-BAFA-661B83772496}" dt="2024-06-10T20:39:56.956" v="2841"/>
          <ac:spMkLst>
            <pc:docMk/>
            <pc:sldMk cId="2239565128" sldId="4994"/>
            <ac:spMk id="5" creationId="{0DB8AB1F-8B9B-4496-7C93-FAF0EC2E698C}"/>
          </ac:spMkLst>
        </pc:spChg>
        <pc:spChg chg="add mod">
          <ac:chgData name="Elgee, Jeffrey (SPAC/PSPC)" userId="e10f0e9c-c03f-4fde-9113-11216b420c44" providerId="ADAL" clId="{8A22DB22-CE08-4237-BAFA-661B83772496}" dt="2024-06-10T20:39:56.956" v="2841"/>
          <ac:spMkLst>
            <pc:docMk/>
            <pc:sldMk cId="2239565128" sldId="4994"/>
            <ac:spMk id="6" creationId="{F715877D-604B-5BB3-35EB-0768F76A7262}"/>
          </ac:spMkLst>
        </pc:spChg>
        <pc:spChg chg="add mod">
          <ac:chgData name="Elgee, Jeffrey (SPAC/PSPC)" userId="e10f0e9c-c03f-4fde-9113-11216b420c44" providerId="ADAL" clId="{8A22DB22-CE08-4237-BAFA-661B83772496}" dt="2024-06-10T20:40:53.119" v="2844" actId="207"/>
          <ac:spMkLst>
            <pc:docMk/>
            <pc:sldMk cId="2239565128" sldId="4994"/>
            <ac:spMk id="7" creationId="{65BCB892-EF0D-A743-67D4-7E90660123AE}"/>
          </ac:spMkLst>
        </pc:spChg>
        <pc:spChg chg="mod">
          <ac:chgData name="Elgee, Jeffrey (SPAC/PSPC)" userId="e10f0e9c-c03f-4fde-9113-11216b420c44" providerId="ADAL" clId="{8A22DB22-CE08-4237-BAFA-661B83772496}" dt="2024-06-11T12:56:50.081" v="2850" actId="1076"/>
          <ac:spMkLst>
            <pc:docMk/>
            <pc:sldMk cId="2239565128" sldId="4994"/>
            <ac:spMk id="8" creationId="{D1BB5A4D-1910-BA41-710E-649A068A1729}"/>
          </ac:spMkLst>
        </pc:spChg>
        <pc:spChg chg="add mod">
          <ac:chgData name="Elgee, Jeffrey (SPAC/PSPC)" userId="e10f0e9c-c03f-4fde-9113-11216b420c44" providerId="ADAL" clId="{8A22DB22-CE08-4237-BAFA-661B83772496}" dt="2024-06-10T20:39:56.956" v="2841"/>
          <ac:spMkLst>
            <pc:docMk/>
            <pc:sldMk cId="2239565128" sldId="4994"/>
            <ac:spMk id="9" creationId="{2DD825DD-EDA7-D393-CBBC-F70A3613D025}"/>
          </ac:spMkLst>
        </pc:spChg>
        <pc:picChg chg="mod">
          <ac:chgData name="Elgee, Jeffrey (SPAC/PSPC)" userId="e10f0e9c-c03f-4fde-9113-11216b420c44" providerId="ADAL" clId="{8A22DB22-CE08-4237-BAFA-661B83772496}" dt="2024-06-11T12:56:55.173" v="2851" actId="1076"/>
          <ac:picMkLst>
            <pc:docMk/>
            <pc:sldMk cId="2239565128" sldId="4994"/>
            <ac:picMk id="10" creationId="{649C34E2-70D1-0A87-6777-DB0F9299F57D}"/>
          </ac:picMkLst>
        </pc:picChg>
      </pc:sldChg>
      <pc:sldChg chg="addSp modSp mod">
        <pc:chgData name="Elgee, Jeffrey (SPAC/PSPC)" userId="e10f0e9c-c03f-4fde-9113-11216b420c44" providerId="ADAL" clId="{8A22DB22-CE08-4237-BAFA-661B83772496}" dt="2024-06-11T12:57:29.387" v="2855" actId="1076"/>
        <pc:sldMkLst>
          <pc:docMk/>
          <pc:sldMk cId="4226407642" sldId="4995"/>
        </pc:sldMkLst>
        <pc:spChg chg="mod">
          <ac:chgData name="Elgee, Jeffrey (SPAC/PSPC)" userId="e10f0e9c-c03f-4fde-9113-11216b420c44" providerId="ADAL" clId="{8A22DB22-CE08-4237-BAFA-661B83772496}" dt="2024-06-10T20:42:09.785" v="2849" actId="1076"/>
          <ac:spMkLst>
            <pc:docMk/>
            <pc:sldMk cId="4226407642" sldId="4995"/>
            <ac:spMk id="4" creationId="{7A3D9691-2EF5-8BFD-F0A0-97FB021A1A74}"/>
          </ac:spMkLst>
        </pc:spChg>
        <pc:spChg chg="add mod">
          <ac:chgData name="Elgee, Jeffrey (SPAC/PSPC)" userId="e10f0e9c-c03f-4fde-9113-11216b420c44" providerId="ADAL" clId="{8A22DB22-CE08-4237-BAFA-661B83772496}" dt="2024-06-10T20:40:04.357" v="2842"/>
          <ac:spMkLst>
            <pc:docMk/>
            <pc:sldMk cId="4226407642" sldId="4995"/>
            <ac:spMk id="5" creationId="{3AF382B0-CF9B-A225-DAC3-91E4DC739F0E}"/>
          </ac:spMkLst>
        </pc:spChg>
        <pc:spChg chg="add mod">
          <ac:chgData name="Elgee, Jeffrey (SPAC/PSPC)" userId="e10f0e9c-c03f-4fde-9113-11216b420c44" providerId="ADAL" clId="{8A22DB22-CE08-4237-BAFA-661B83772496}" dt="2024-06-10T20:40:04.357" v="2842"/>
          <ac:spMkLst>
            <pc:docMk/>
            <pc:sldMk cId="4226407642" sldId="4995"/>
            <ac:spMk id="6" creationId="{36B4E3C3-6632-BA27-182C-1B25B7AEF54E}"/>
          </ac:spMkLst>
        </pc:spChg>
        <pc:spChg chg="add mod">
          <ac:chgData name="Elgee, Jeffrey (SPAC/PSPC)" userId="e10f0e9c-c03f-4fde-9113-11216b420c44" providerId="ADAL" clId="{8A22DB22-CE08-4237-BAFA-661B83772496}" dt="2024-06-10T20:41:03.414" v="2845" actId="207"/>
          <ac:spMkLst>
            <pc:docMk/>
            <pc:sldMk cId="4226407642" sldId="4995"/>
            <ac:spMk id="7" creationId="{33AF2F1C-BD54-D8B3-1754-2F72DB1B66B5}"/>
          </ac:spMkLst>
        </pc:spChg>
        <pc:spChg chg="mod">
          <ac:chgData name="Elgee, Jeffrey (SPAC/PSPC)" userId="e10f0e9c-c03f-4fde-9113-11216b420c44" providerId="ADAL" clId="{8A22DB22-CE08-4237-BAFA-661B83772496}" dt="2024-06-11T12:57:25.125" v="2854" actId="1076"/>
          <ac:spMkLst>
            <pc:docMk/>
            <pc:sldMk cId="4226407642" sldId="4995"/>
            <ac:spMk id="8" creationId="{A9FC7316-1608-7A0F-764B-4353EE47E850}"/>
          </ac:spMkLst>
        </pc:spChg>
        <pc:spChg chg="mod">
          <ac:chgData name="Elgee, Jeffrey (SPAC/PSPC)" userId="e10f0e9c-c03f-4fde-9113-11216b420c44" providerId="ADAL" clId="{8A22DB22-CE08-4237-BAFA-661B83772496}" dt="2024-06-11T12:57:11.237" v="2852" actId="1076"/>
          <ac:spMkLst>
            <pc:docMk/>
            <pc:sldMk cId="4226407642" sldId="4995"/>
            <ac:spMk id="9" creationId="{124B1481-76CC-FA32-D369-30B4187EED5E}"/>
          </ac:spMkLst>
        </pc:spChg>
        <pc:spChg chg="add mod">
          <ac:chgData name="Elgee, Jeffrey (SPAC/PSPC)" userId="e10f0e9c-c03f-4fde-9113-11216b420c44" providerId="ADAL" clId="{8A22DB22-CE08-4237-BAFA-661B83772496}" dt="2024-06-10T20:40:04.357" v="2842"/>
          <ac:spMkLst>
            <pc:docMk/>
            <pc:sldMk cId="4226407642" sldId="4995"/>
            <ac:spMk id="10" creationId="{2984CE5A-C990-A28E-2791-EDDE1CF47789}"/>
          </ac:spMkLst>
        </pc:spChg>
        <pc:picChg chg="mod">
          <ac:chgData name="Elgee, Jeffrey (SPAC/PSPC)" userId="e10f0e9c-c03f-4fde-9113-11216b420c44" providerId="ADAL" clId="{8A22DB22-CE08-4237-BAFA-661B83772496}" dt="2024-06-11T12:57:29.387" v="2855" actId="1076"/>
          <ac:picMkLst>
            <pc:docMk/>
            <pc:sldMk cId="4226407642" sldId="4995"/>
            <ac:picMk id="2" creationId="{03259ACC-662B-55A1-3304-5078DC7A15E1}"/>
          </ac:picMkLst>
        </pc:picChg>
        <pc:picChg chg="mod">
          <ac:chgData name="Elgee, Jeffrey (SPAC/PSPC)" userId="e10f0e9c-c03f-4fde-9113-11216b420c44" providerId="ADAL" clId="{8A22DB22-CE08-4237-BAFA-661B83772496}" dt="2024-06-11T12:57:14.455" v="2853" actId="1076"/>
          <ac:picMkLst>
            <pc:docMk/>
            <pc:sldMk cId="4226407642" sldId="4995"/>
            <ac:picMk id="3" creationId="{BB42B956-14DC-C5BC-5D9D-A8B3CC1EC9A0}"/>
          </ac:picMkLst>
        </pc:picChg>
      </pc:sldChg>
      <pc:sldChg chg="addSp modSp mod">
        <pc:chgData name="Elgee, Jeffrey (SPAC/PSPC)" userId="e10f0e9c-c03f-4fde-9113-11216b420c44" providerId="ADAL" clId="{8A22DB22-CE08-4237-BAFA-661B83772496}" dt="2024-06-10T20:41:41.220" v="2846" actId="207"/>
        <pc:sldMkLst>
          <pc:docMk/>
          <pc:sldMk cId="502785453" sldId="4996"/>
        </pc:sldMkLst>
        <pc:spChg chg="add mod">
          <ac:chgData name="Elgee, Jeffrey (SPAC/PSPC)" userId="e10f0e9c-c03f-4fde-9113-11216b420c44" providerId="ADAL" clId="{8A22DB22-CE08-4237-BAFA-661B83772496}" dt="2024-06-10T20:40:07.098" v="2843"/>
          <ac:spMkLst>
            <pc:docMk/>
            <pc:sldMk cId="502785453" sldId="4996"/>
            <ac:spMk id="6" creationId="{EF091605-F6FC-7D7E-D89A-A8AEA2E1B592}"/>
          </ac:spMkLst>
        </pc:spChg>
        <pc:spChg chg="add mod">
          <ac:chgData name="Elgee, Jeffrey (SPAC/PSPC)" userId="e10f0e9c-c03f-4fde-9113-11216b420c44" providerId="ADAL" clId="{8A22DB22-CE08-4237-BAFA-661B83772496}" dt="2024-06-10T20:40:07.098" v="2843"/>
          <ac:spMkLst>
            <pc:docMk/>
            <pc:sldMk cId="502785453" sldId="4996"/>
            <ac:spMk id="8" creationId="{5511E82C-3A1B-BF95-28C3-77F1A9151DD2}"/>
          </ac:spMkLst>
        </pc:spChg>
        <pc:spChg chg="add mod">
          <ac:chgData name="Elgee, Jeffrey (SPAC/PSPC)" userId="e10f0e9c-c03f-4fde-9113-11216b420c44" providerId="ADAL" clId="{8A22DB22-CE08-4237-BAFA-661B83772496}" dt="2024-06-10T20:41:41.220" v="2846" actId="207"/>
          <ac:spMkLst>
            <pc:docMk/>
            <pc:sldMk cId="502785453" sldId="4996"/>
            <ac:spMk id="9" creationId="{E3BE9AD9-A9C4-4B02-2972-9BDFAE350BBA}"/>
          </ac:spMkLst>
        </pc:spChg>
        <pc:spChg chg="add mod">
          <ac:chgData name="Elgee, Jeffrey (SPAC/PSPC)" userId="e10f0e9c-c03f-4fde-9113-11216b420c44" providerId="ADAL" clId="{8A22DB22-CE08-4237-BAFA-661B83772496}" dt="2024-06-10T20:40:07.098" v="2843"/>
          <ac:spMkLst>
            <pc:docMk/>
            <pc:sldMk cId="502785453" sldId="4996"/>
            <ac:spMk id="10" creationId="{B643013A-181B-E5F1-52DA-14D2C58B2195}"/>
          </ac:spMkLst>
        </pc:spChg>
      </pc:sldChg>
      <pc:sldChg chg="addSp delSp modSp mod modClrScheme chgLayout modNotesTx">
        <pc:chgData name="Elgee, Jeffrey (SPAC/PSPC)" userId="e10f0e9c-c03f-4fde-9113-11216b420c44" providerId="ADAL" clId="{8A22DB22-CE08-4237-BAFA-661B83772496}" dt="2024-06-06T14:58:20.767" v="888" actId="1076"/>
        <pc:sldMkLst>
          <pc:docMk/>
          <pc:sldMk cId="581567723" sldId="4998"/>
        </pc:sldMkLst>
        <pc:spChg chg="mod ord">
          <ac:chgData name="Elgee, Jeffrey (SPAC/PSPC)" userId="e10f0e9c-c03f-4fde-9113-11216b420c44" providerId="ADAL" clId="{8A22DB22-CE08-4237-BAFA-661B83772496}" dt="2024-06-06T14:57:04.339" v="880" actId="700"/>
          <ac:spMkLst>
            <pc:docMk/>
            <pc:sldMk cId="581567723" sldId="4998"/>
            <ac:spMk id="2" creationId="{9DE119AA-C27C-1F93-8533-D6E1F56A43A8}"/>
          </ac:spMkLst>
        </pc:spChg>
        <pc:spChg chg="del mod">
          <ac:chgData name="Elgee, Jeffrey (SPAC/PSPC)" userId="e10f0e9c-c03f-4fde-9113-11216b420c44" providerId="ADAL" clId="{8A22DB22-CE08-4237-BAFA-661B83772496}" dt="2024-06-06T14:58:05.127" v="887"/>
          <ac:spMkLst>
            <pc:docMk/>
            <pc:sldMk cId="581567723" sldId="4998"/>
            <ac:spMk id="3" creationId="{DCB1C657-83E0-7559-CD35-A0F89A43A85C}"/>
          </ac:spMkLst>
        </pc:spChg>
        <pc:spChg chg="add del mod ord">
          <ac:chgData name="Elgee, Jeffrey (SPAC/PSPC)" userId="e10f0e9c-c03f-4fde-9113-11216b420c44" providerId="ADAL" clId="{8A22DB22-CE08-4237-BAFA-661B83772496}" dt="2024-06-06T14:57:12.019" v="881" actId="478"/>
          <ac:spMkLst>
            <pc:docMk/>
            <pc:sldMk cId="581567723" sldId="4998"/>
            <ac:spMk id="4" creationId="{D9038F16-74AC-2AF2-5842-E77D8764AB97}"/>
          </ac:spMkLst>
        </pc:spChg>
        <pc:spChg chg="add del mod ord">
          <ac:chgData name="Elgee, Jeffrey (SPAC/PSPC)" userId="e10f0e9c-c03f-4fde-9113-11216b420c44" providerId="ADAL" clId="{8A22DB22-CE08-4237-BAFA-661B83772496}" dt="2024-06-06T14:57:15.099" v="882" actId="478"/>
          <ac:spMkLst>
            <pc:docMk/>
            <pc:sldMk cId="581567723" sldId="4998"/>
            <ac:spMk id="5" creationId="{83821B7C-6CE3-92A9-A74D-938185BBD8A4}"/>
          </ac:spMkLst>
        </pc:spChg>
        <pc:spChg chg="mod">
          <ac:chgData name="Elgee, Jeffrey (SPAC/PSPC)" userId="e10f0e9c-c03f-4fde-9113-11216b420c44" providerId="ADAL" clId="{8A22DB22-CE08-4237-BAFA-661B83772496}" dt="2024-06-06T13:38:13.865" v="309" actId="1035"/>
          <ac:spMkLst>
            <pc:docMk/>
            <pc:sldMk cId="581567723" sldId="4998"/>
            <ac:spMk id="115" creationId="{99B313E4-68F8-0E05-784F-777B53C53AD8}"/>
          </ac:spMkLst>
        </pc:spChg>
        <pc:spChg chg="mod">
          <ac:chgData name="Elgee, Jeffrey (SPAC/PSPC)" userId="e10f0e9c-c03f-4fde-9113-11216b420c44" providerId="ADAL" clId="{8A22DB22-CE08-4237-BAFA-661B83772496}" dt="2024-06-06T14:58:20.767" v="888" actId="1076"/>
          <ac:spMkLst>
            <pc:docMk/>
            <pc:sldMk cId="581567723" sldId="4998"/>
            <ac:spMk id="116" creationId="{D977104C-37CA-F758-7243-30B07DD8013A}"/>
          </ac:spMkLst>
        </pc:spChg>
        <pc:spChg chg="mod">
          <ac:chgData name="Elgee, Jeffrey (SPAC/PSPC)" userId="e10f0e9c-c03f-4fde-9113-11216b420c44" providerId="ADAL" clId="{8A22DB22-CE08-4237-BAFA-661B83772496}" dt="2024-06-06T13:39:39.642" v="372" actId="113"/>
          <ac:spMkLst>
            <pc:docMk/>
            <pc:sldMk cId="581567723" sldId="4998"/>
            <ac:spMk id="117" creationId="{C9DAC2A6-C89F-2DC3-5552-32890189A83F}"/>
          </ac:spMkLst>
        </pc:spChg>
        <pc:spChg chg="mod">
          <ac:chgData name="Elgee, Jeffrey (SPAC/PSPC)" userId="e10f0e9c-c03f-4fde-9113-11216b420c44" providerId="ADAL" clId="{8A22DB22-CE08-4237-BAFA-661B83772496}" dt="2024-06-06T13:39:55.051" v="374" actId="13926"/>
          <ac:spMkLst>
            <pc:docMk/>
            <pc:sldMk cId="581567723" sldId="4998"/>
            <ac:spMk id="118" creationId="{03606830-0145-BF89-5080-5EDD4851A9CA}"/>
          </ac:spMkLst>
        </pc:spChg>
        <pc:spChg chg="mod">
          <ac:chgData name="Elgee, Jeffrey (SPAC/PSPC)" userId="e10f0e9c-c03f-4fde-9113-11216b420c44" providerId="ADAL" clId="{8A22DB22-CE08-4237-BAFA-661B83772496}" dt="2024-06-06T13:40:22.881" v="396" actId="207"/>
          <ac:spMkLst>
            <pc:docMk/>
            <pc:sldMk cId="581567723" sldId="4998"/>
            <ac:spMk id="122" creationId="{A9D90BF1-5FA9-70F0-2114-74B647F61343}"/>
          </ac:spMkLst>
        </pc:spChg>
        <pc:spChg chg="mod">
          <ac:chgData name="Elgee, Jeffrey (SPAC/PSPC)" userId="e10f0e9c-c03f-4fde-9113-11216b420c44" providerId="ADAL" clId="{8A22DB22-CE08-4237-BAFA-661B83772496}" dt="2024-06-06T13:44:24.991" v="418" actId="207"/>
          <ac:spMkLst>
            <pc:docMk/>
            <pc:sldMk cId="581567723" sldId="4998"/>
            <ac:spMk id="123" creationId="{96958ADE-A4CF-B97E-6CC3-E67FA3D6703E}"/>
          </ac:spMkLst>
        </pc:spChg>
        <pc:spChg chg="del mod">
          <ac:chgData name="Elgee, Jeffrey (SPAC/PSPC)" userId="e10f0e9c-c03f-4fde-9113-11216b420c44" providerId="ADAL" clId="{8A22DB22-CE08-4237-BAFA-661B83772496}" dt="2024-06-06T13:37:51.723" v="288" actId="478"/>
          <ac:spMkLst>
            <pc:docMk/>
            <pc:sldMk cId="581567723" sldId="4998"/>
            <ac:spMk id="124" creationId="{D42E50EC-09BD-1D9A-3AA5-B3779C9D68F8}"/>
          </ac:spMkLst>
        </pc:spChg>
        <pc:spChg chg="mod">
          <ac:chgData name="Elgee, Jeffrey (SPAC/PSPC)" userId="e10f0e9c-c03f-4fde-9113-11216b420c44" providerId="ADAL" clId="{8A22DB22-CE08-4237-BAFA-661B83772496}" dt="2024-06-06T13:41:40.064" v="402" actId="13926"/>
          <ac:spMkLst>
            <pc:docMk/>
            <pc:sldMk cId="581567723" sldId="4998"/>
            <ac:spMk id="125" creationId="{C3A1B379-6571-1C49-58FA-89CBE354E722}"/>
          </ac:spMkLst>
        </pc:spChg>
        <pc:spChg chg="mod">
          <ac:chgData name="Elgee, Jeffrey (SPAC/PSPC)" userId="e10f0e9c-c03f-4fde-9113-11216b420c44" providerId="ADAL" clId="{8A22DB22-CE08-4237-BAFA-661B83772496}" dt="2024-06-06T13:44:07.841" v="416" actId="207"/>
          <ac:spMkLst>
            <pc:docMk/>
            <pc:sldMk cId="581567723" sldId="4998"/>
            <ac:spMk id="126" creationId="{1D166D08-6E2D-80DD-6808-092F6378AC03}"/>
          </ac:spMkLst>
        </pc:spChg>
        <pc:spChg chg="del">
          <ac:chgData name="Elgee, Jeffrey (SPAC/PSPC)" userId="e10f0e9c-c03f-4fde-9113-11216b420c44" providerId="ADAL" clId="{8A22DB22-CE08-4237-BAFA-661B83772496}" dt="2024-06-06T13:38:18.968" v="310" actId="478"/>
          <ac:spMkLst>
            <pc:docMk/>
            <pc:sldMk cId="581567723" sldId="4998"/>
            <ac:spMk id="127" creationId="{66533980-1485-F682-A323-EED21142DA01}"/>
          </ac:spMkLst>
        </pc:spChg>
        <pc:spChg chg="mod">
          <ac:chgData name="Elgee, Jeffrey (SPAC/PSPC)" userId="e10f0e9c-c03f-4fde-9113-11216b420c44" providerId="ADAL" clId="{8A22DB22-CE08-4237-BAFA-661B83772496}" dt="2024-06-06T13:38:13.865" v="309" actId="1035"/>
          <ac:spMkLst>
            <pc:docMk/>
            <pc:sldMk cId="581567723" sldId="4998"/>
            <ac:spMk id="130" creationId="{37927CF3-81AF-9EC4-5FAE-0F465D84F953}"/>
          </ac:spMkLst>
        </pc:spChg>
        <pc:spChg chg="mod">
          <ac:chgData name="Elgee, Jeffrey (SPAC/PSPC)" userId="e10f0e9c-c03f-4fde-9113-11216b420c44" providerId="ADAL" clId="{8A22DB22-CE08-4237-BAFA-661B83772496}" dt="2024-06-06T13:38:29.918" v="327" actId="1035"/>
          <ac:spMkLst>
            <pc:docMk/>
            <pc:sldMk cId="581567723" sldId="4998"/>
            <ac:spMk id="131" creationId="{F71F5B42-71A6-85F9-508A-7ED7FF32727F}"/>
          </ac:spMkLst>
        </pc:spChg>
        <pc:spChg chg="mod">
          <ac:chgData name="Elgee, Jeffrey (SPAC/PSPC)" userId="e10f0e9c-c03f-4fde-9113-11216b420c44" providerId="ADAL" clId="{8A22DB22-CE08-4237-BAFA-661B83772496}" dt="2024-06-06T13:38:29.918" v="327" actId="1035"/>
          <ac:spMkLst>
            <pc:docMk/>
            <pc:sldMk cId="581567723" sldId="4998"/>
            <ac:spMk id="132" creationId="{972E62F7-856E-E74B-98EE-589692A22E88}"/>
          </ac:spMkLst>
        </pc:spChg>
        <pc:grpChg chg="mod">
          <ac:chgData name="Elgee, Jeffrey (SPAC/PSPC)" userId="e10f0e9c-c03f-4fde-9113-11216b420c44" providerId="ADAL" clId="{8A22DB22-CE08-4237-BAFA-661B83772496}" dt="2024-06-06T13:38:29.918" v="327" actId="1035"/>
          <ac:grpSpMkLst>
            <pc:docMk/>
            <pc:sldMk cId="581567723" sldId="4998"/>
            <ac:grpSpMk id="135" creationId="{DFC4213B-24A7-04FD-6312-18CA7ABB7C6D}"/>
          </ac:grpSpMkLst>
        </pc:grpChg>
        <pc:picChg chg="mod">
          <ac:chgData name="Elgee, Jeffrey (SPAC/PSPC)" userId="e10f0e9c-c03f-4fde-9113-11216b420c44" providerId="ADAL" clId="{8A22DB22-CE08-4237-BAFA-661B83772496}" dt="2024-06-06T13:38:13.865" v="309" actId="1035"/>
          <ac:picMkLst>
            <pc:docMk/>
            <pc:sldMk cId="581567723" sldId="4998"/>
            <ac:picMk id="128" creationId="{72D7B425-467D-E300-99B1-FF1BD469BAA8}"/>
          </ac:picMkLst>
        </pc:picChg>
        <pc:picChg chg="mod">
          <ac:chgData name="Elgee, Jeffrey (SPAC/PSPC)" userId="e10f0e9c-c03f-4fde-9113-11216b420c44" providerId="ADAL" clId="{8A22DB22-CE08-4237-BAFA-661B83772496}" dt="2024-06-06T13:38:13.865" v="309" actId="1035"/>
          <ac:picMkLst>
            <pc:docMk/>
            <pc:sldMk cId="581567723" sldId="4998"/>
            <ac:picMk id="129" creationId="{E625BF06-9D3F-0649-97EF-1BA8A59764D7}"/>
          </ac:picMkLst>
        </pc:picChg>
        <pc:picChg chg="mod">
          <ac:chgData name="Elgee, Jeffrey (SPAC/PSPC)" userId="e10f0e9c-c03f-4fde-9113-11216b420c44" providerId="ADAL" clId="{8A22DB22-CE08-4237-BAFA-661B83772496}" dt="2024-06-06T13:38:29.918" v="327" actId="1035"/>
          <ac:picMkLst>
            <pc:docMk/>
            <pc:sldMk cId="581567723" sldId="4998"/>
            <ac:picMk id="133" creationId="{2C4D393D-1B54-98F0-19F7-D0F7CB3EDE01}"/>
          </ac:picMkLst>
        </pc:picChg>
        <pc:picChg chg="mod">
          <ac:chgData name="Elgee, Jeffrey (SPAC/PSPC)" userId="e10f0e9c-c03f-4fde-9113-11216b420c44" providerId="ADAL" clId="{8A22DB22-CE08-4237-BAFA-661B83772496}" dt="2024-06-06T13:38:29.918" v="327" actId="1035"/>
          <ac:picMkLst>
            <pc:docMk/>
            <pc:sldMk cId="581567723" sldId="4998"/>
            <ac:picMk id="134" creationId="{5BE65366-221B-6F0C-7BDE-1611F267E4E8}"/>
          </ac:picMkLst>
        </pc:picChg>
      </pc:sldChg>
      <pc:sldChg chg="modSp mod modShow">
        <pc:chgData name="Elgee, Jeffrey (SPAC/PSPC)" userId="e10f0e9c-c03f-4fde-9113-11216b420c44" providerId="ADAL" clId="{8A22DB22-CE08-4237-BAFA-661B83772496}" dt="2024-06-06T18:56:21.103" v="1500" actId="729"/>
        <pc:sldMkLst>
          <pc:docMk/>
          <pc:sldMk cId="1252285508" sldId="4999"/>
        </pc:sldMkLst>
        <pc:spChg chg="mod">
          <ac:chgData name="Elgee, Jeffrey (SPAC/PSPC)" userId="e10f0e9c-c03f-4fde-9113-11216b420c44" providerId="ADAL" clId="{8A22DB22-CE08-4237-BAFA-661B83772496}" dt="2024-06-06T18:55:34.666" v="1452" actId="1076"/>
          <ac:spMkLst>
            <pc:docMk/>
            <pc:sldMk cId="1252285508" sldId="4999"/>
            <ac:spMk id="2" creationId="{28BA11C7-FE93-B38C-0C87-7C03934B328B}"/>
          </ac:spMkLst>
        </pc:spChg>
      </pc:sldChg>
      <pc:sldChg chg="addSp delSp modSp mod modClrScheme modCm chgLayout">
        <pc:chgData name="Elgee, Jeffrey (SPAC/PSPC)" userId="e10f0e9c-c03f-4fde-9113-11216b420c44" providerId="ADAL" clId="{8A22DB22-CE08-4237-BAFA-661B83772496}" dt="2024-06-11T14:21:12.428" v="3172"/>
        <pc:sldMkLst>
          <pc:docMk/>
          <pc:sldMk cId="3194185217" sldId="5000"/>
        </pc:sldMkLst>
        <pc:spChg chg="mod ord">
          <ac:chgData name="Elgee, Jeffrey (SPAC/PSPC)" userId="e10f0e9c-c03f-4fde-9113-11216b420c44" providerId="ADAL" clId="{8A22DB22-CE08-4237-BAFA-661B83772496}" dt="2024-06-06T14:58:35.103" v="889" actId="700"/>
          <ac:spMkLst>
            <pc:docMk/>
            <pc:sldMk cId="3194185217" sldId="5000"/>
            <ac:spMk id="2" creationId="{2828F65A-808D-02D2-738B-A7C5CC9FA5CA}"/>
          </ac:spMkLst>
        </pc:spChg>
        <pc:spChg chg="add del mod">
          <ac:chgData name="Elgee, Jeffrey (SPAC/PSPC)" userId="e10f0e9c-c03f-4fde-9113-11216b420c44" providerId="ADAL" clId="{8A22DB22-CE08-4237-BAFA-661B83772496}" dt="2024-06-05T18:31:55.520" v="12" actId="478"/>
          <ac:spMkLst>
            <pc:docMk/>
            <pc:sldMk cId="3194185217" sldId="5000"/>
            <ac:spMk id="4" creationId="{EACF6E99-E03B-249D-6409-F08A0612D72C}"/>
          </ac:spMkLst>
        </pc:spChg>
        <pc:spChg chg="mod">
          <ac:chgData name="Elgee, Jeffrey (SPAC/PSPC)" userId="e10f0e9c-c03f-4fde-9113-11216b420c44" providerId="ADAL" clId="{8A22DB22-CE08-4237-BAFA-661B83772496}" dt="2024-06-05T19:11:51.330" v="76" actId="1076"/>
          <ac:spMkLst>
            <pc:docMk/>
            <pc:sldMk cId="3194185217" sldId="5000"/>
            <ac:spMk id="5" creationId="{022AD1F7-CC8C-3292-5DCC-261E346D205F}"/>
          </ac:spMkLst>
        </pc:spChg>
        <pc:spChg chg="del">
          <ac:chgData name="Elgee, Jeffrey (SPAC/PSPC)" userId="e10f0e9c-c03f-4fde-9113-11216b420c44" providerId="ADAL" clId="{8A22DB22-CE08-4237-BAFA-661B83772496}" dt="2024-06-05T18:31:31.539" v="8" actId="478"/>
          <ac:spMkLst>
            <pc:docMk/>
            <pc:sldMk cId="3194185217" sldId="5000"/>
            <ac:spMk id="8" creationId="{B8D3236C-F5AD-B8FE-973F-67D3C1A9171D}"/>
          </ac:spMkLst>
        </pc:spChg>
        <pc:spChg chg="del">
          <ac:chgData name="Elgee, Jeffrey (SPAC/PSPC)" userId="e10f0e9c-c03f-4fde-9113-11216b420c44" providerId="ADAL" clId="{8A22DB22-CE08-4237-BAFA-661B83772496}" dt="2024-06-05T18:31:06.604" v="4" actId="478"/>
          <ac:spMkLst>
            <pc:docMk/>
            <pc:sldMk cId="3194185217" sldId="5000"/>
            <ac:spMk id="12" creationId="{9F58768A-F5F9-3AC4-6268-3A8E7F67BD06}"/>
          </ac:spMkLst>
        </pc:spChg>
        <pc:spChg chg="del">
          <ac:chgData name="Elgee, Jeffrey (SPAC/PSPC)" userId="e10f0e9c-c03f-4fde-9113-11216b420c44" providerId="ADAL" clId="{8A22DB22-CE08-4237-BAFA-661B83772496}" dt="2024-06-05T18:31:25.132" v="7" actId="478"/>
          <ac:spMkLst>
            <pc:docMk/>
            <pc:sldMk cId="3194185217" sldId="5000"/>
            <ac:spMk id="14" creationId="{9B6A7A23-1440-018C-FB55-8B1C9009263E}"/>
          </ac:spMkLst>
        </pc:spChg>
        <pc:spChg chg="del">
          <ac:chgData name="Elgee, Jeffrey (SPAC/PSPC)" userId="e10f0e9c-c03f-4fde-9113-11216b420c44" providerId="ADAL" clId="{8A22DB22-CE08-4237-BAFA-661B83772496}" dt="2024-06-05T18:30:53.009" v="2" actId="478"/>
          <ac:spMkLst>
            <pc:docMk/>
            <pc:sldMk cId="3194185217" sldId="5000"/>
            <ac:spMk id="15" creationId="{697BB04D-D5A9-EF9D-9DE3-EAE9709340EE}"/>
          </ac:spMkLst>
        </pc:spChg>
        <pc:spChg chg="del">
          <ac:chgData name="Elgee, Jeffrey (SPAC/PSPC)" userId="e10f0e9c-c03f-4fde-9113-11216b420c44" providerId="ADAL" clId="{8A22DB22-CE08-4237-BAFA-661B83772496}" dt="2024-06-05T18:30:56.815" v="3" actId="478"/>
          <ac:spMkLst>
            <pc:docMk/>
            <pc:sldMk cId="3194185217" sldId="5000"/>
            <ac:spMk id="17" creationId="{E809A576-517F-D6FE-2A09-5E88690E1076}"/>
          </ac:spMkLst>
        </pc:spChg>
        <pc:spChg chg="del">
          <ac:chgData name="Elgee, Jeffrey (SPAC/PSPC)" userId="e10f0e9c-c03f-4fde-9113-11216b420c44" providerId="ADAL" clId="{8A22DB22-CE08-4237-BAFA-661B83772496}" dt="2024-06-05T18:30:47.411" v="1" actId="478"/>
          <ac:spMkLst>
            <pc:docMk/>
            <pc:sldMk cId="3194185217" sldId="5000"/>
            <ac:spMk id="18" creationId="{99070905-81A6-326C-1DA9-2FC78FD03718}"/>
          </ac:spMkLst>
        </pc:spChg>
        <pc:spChg chg="mod">
          <ac:chgData name="Elgee, Jeffrey (SPAC/PSPC)" userId="e10f0e9c-c03f-4fde-9113-11216b420c44" providerId="ADAL" clId="{8A22DB22-CE08-4237-BAFA-661B83772496}" dt="2024-06-05T18:38:02.958" v="44" actId="1076"/>
          <ac:spMkLst>
            <pc:docMk/>
            <pc:sldMk cId="3194185217" sldId="5000"/>
            <ac:spMk id="19" creationId="{BFA234D2-120A-FD69-86AE-5FB98203EDF5}"/>
          </ac:spMkLst>
        </pc:spChg>
        <pc:spChg chg="mod">
          <ac:chgData name="Elgee, Jeffrey (SPAC/PSPC)" userId="e10f0e9c-c03f-4fde-9113-11216b420c44" providerId="ADAL" clId="{8A22DB22-CE08-4237-BAFA-661B83772496}" dt="2024-06-05T18:39:18.270" v="74" actId="1076"/>
          <ac:spMkLst>
            <pc:docMk/>
            <pc:sldMk cId="3194185217" sldId="5000"/>
            <ac:spMk id="20" creationId="{94DCBF09-ABA2-C4B6-97FC-220DA50B7E63}"/>
          </ac:spMkLst>
        </pc:spChg>
        <pc:spChg chg="mod">
          <ac:chgData name="Elgee, Jeffrey (SPAC/PSPC)" userId="e10f0e9c-c03f-4fde-9113-11216b420c44" providerId="ADAL" clId="{8A22DB22-CE08-4237-BAFA-661B83772496}" dt="2024-06-05T18:38:38.897" v="48" actId="1076"/>
          <ac:spMkLst>
            <pc:docMk/>
            <pc:sldMk cId="3194185217" sldId="5000"/>
            <ac:spMk id="21" creationId="{F0F688BB-42A1-D9B9-B9A0-C12D3974EA66}"/>
          </ac:spMkLst>
        </pc:spChg>
        <pc:spChg chg="del mod">
          <ac:chgData name="Elgee, Jeffrey (SPAC/PSPC)" userId="e10f0e9c-c03f-4fde-9113-11216b420c44" providerId="ADAL" clId="{8A22DB22-CE08-4237-BAFA-661B83772496}" dt="2024-06-05T18:35:25.814" v="33" actId="478"/>
          <ac:spMkLst>
            <pc:docMk/>
            <pc:sldMk cId="3194185217" sldId="5000"/>
            <ac:spMk id="22" creationId="{A41FBB0B-2102-57C6-0AD2-C0EFB2054B00}"/>
          </ac:spMkLst>
        </pc:spChg>
        <pc:spChg chg="del mod">
          <ac:chgData name="Elgee, Jeffrey (SPAC/PSPC)" userId="e10f0e9c-c03f-4fde-9113-11216b420c44" providerId="ADAL" clId="{8A22DB22-CE08-4237-BAFA-661B83772496}" dt="2024-06-05T18:35:25.814" v="33" actId="478"/>
          <ac:spMkLst>
            <pc:docMk/>
            <pc:sldMk cId="3194185217" sldId="5000"/>
            <ac:spMk id="23" creationId="{CAC9BBCC-16BF-2166-C575-6117AF67D5CE}"/>
          </ac:spMkLst>
        </pc:spChg>
        <pc:spChg chg="del mod">
          <ac:chgData name="Elgee, Jeffrey (SPAC/PSPC)" userId="e10f0e9c-c03f-4fde-9113-11216b420c44" providerId="ADAL" clId="{8A22DB22-CE08-4237-BAFA-661B83772496}" dt="2024-06-05T18:35:25.814" v="33" actId="478"/>
          <ac:spMkLst>
            <pc:docMk/>
            <pc:sldMk cId="3194185217" sldId="5000"/>
            <ac:spMk id="24" creationId="{05EA8BE3-E02E-CA95-5F0F-7220417D6DCA}"/>
          </ac:spMkLst>
        </pc:spChg>
        <pc:spChg chg="del mod">
          <ac:chgData name="Elgee, Jeffrey (SPAC/PSPC)" userId="e10f0e9c-c03f-4fde-9113-11216b420c44" providerId="ADAL" clId="{8A22DB22-CE08-4237-BAFA-661B83772496}" dt="2024-06-05T18:35:25.814" v="33" actId="478"/>
          <ac:spMkLst>
            <pc:docMk/>
            <pc:sldMk cId="3194185217" sldId="5000"/>
            <ac:spMk id="25" creationId="{0CFE0E3C-3A84-7713-B94B-DE9EDE116076}"/>
          </ac:spMkLst>
        </pc:spChg>
        <pc:spChg chg="del mod">
          <ac:chgData name="Elgee, Jeffrey (SPAC/PSPC)" userId="e10f0e9c-c03f-4fde-9113-11216b420c44" providerId="ADAL" clId="{8A22DB22-CE08-4237-BAFA-661B83772496}" dt="2024-06-05T18:35:25.814" v="33" actId="478"/>
          <ac:spMkLst>
            <pc:docMk/>
            <pc:sldMk cId="3194185217" sldId="5000"/>
            <ac:spMk id="26" creationId="{77B7338D-24BF-4F85-B000-845B3C243D12}"/>
          </ac:spMkLst>
        </pc:spChg>
        <pc:spChg chg="del mod">
          <ac:chgData name="Elgee, Jeffrey (SPAC/PSPC)" userId="e10f0e9c-c03f-4fde-9113-11216b420c44" providerId="ADAL" clId="{8A22DB22-CE08-4237-BAFA-661B83772496}" dt="2024-06-05T18:35:32.222" v="34" actId="478"/>
          <ac:spMkLst>
            <pc:docMk/>
            <pc:sldMk cId="3194185217" sldId="5000"/>
            <ac:spMk id="27" creationId="{1EADB5FE-B786-833B-39DB-D666DFB0E08B}"/>
          </ac:spMkLst>
        </pc:spChg>
        <pc:spChg chg="del mod">
          <ac:chgData name="Elgee, Jeffrey (SPAC/PSPC)" userId="e10f0e9c-c03f-4fde-9113-11216b420c44" providerId="ADAL" clId="{8A22DB22-CE08-4237-BAFA-661B83772496}" dt="2024-06-05T18:35:32.222" v="34" actId="478"/>
          <ac:spMkLst>
            <pc:docMk/>
            <pc:sldMk cId="3194185217" sldId="5000"/>
            <ac:spMk id="28" creationId="{35255DDD-5061-9149-E987-91D3D6A9ADA5}"/>
          </ac:spMkLst>
        </pc:spChg>
        <pc:spChg chg="del mod">
          <ac:chgData name="Elgee, Jeffrey (SPAC/PSPC)" userId="e10f0e9c-c03f-4fde-9113-11216b420c44" providerId="ADAL" clId="{8A22DB22-CE08-4237-BAFA-661B83772496}" dt="2024-06-05T18:35:32.222" v="34" actId="478"/>
          <ac:spMkLst>
            <pc:docMk/>
            <pc:sldMk cId="3194185217" sldId="5000"/>
            <ac:spMk id="29" creationId="{B769BDBB-1AFF-04EE-0B61-543741C62AE6}"/>
          </ac:spMkLst>
        </pc:spChg>
        <pc:spChg chg="del mod">
          <ac:chgData name="Elgee, Jeffrey (SPAC/PSPC)" userId="e10f0e9c-c03f-4fde-9113-11216b420c44" providerId="ADAL" clId="{8A22DB22-CE08-4237-BAFA-661B83772496}" dt="2024-06-05T18:35:32.222" v="34" actId="478"/>
          <ac:spMkLst>
            <pc:docMk/>
            <pc:sldMk cId="3194185217" sldId="5000"/>
            <ac:spMk id="30" creationId="{796D3174-7925-097A-3DAB-14D6614E2472}"/>
          </ac:spMkLst>
        </pc:spChg>
        <pc:spChg chg="del mod">
          <ac:chgData name="Elgee, Jeffrey (SPAC/PSPC)" userId="e10f0e9c-c03f-4fde-9113-11216b420c44" providerId="ADAL" clId="{8A22DB22-CE08-4237-BAFA-661B83772496}" dt="2024-06-05T18:35:32.222" v="34" actId="478"/>
          <ac:spMkLst>
            <pc:docMk/>
            <pc:sldMk cId="3194185217" sldId="5000"/>
            <ac:spMk id="31" creationId="{82EB5891-A5CA-3892-1503-ECDCEF930CDF}"/>
          </ac:spMkLst>
        </pc:spChg>
        <pc:spChg chg="mod">
          <ac:chgData name="Elgee, Jeffrey (SPAC/PSPC)" userId="e10f0e9c-c03f-4fde-9113-11216b420c44" providerId="ADAL" clId="{8A22DB22-CE08-4237-BAFA-661B83772496}" dt="2024-06-05T18:38:29.168" v="46" actId="1076"/>
          <ac:spMkLst>
            <pc:docMk/>
            <pc:sldMk cId="3194185217" sldId="5000"/>
            <ac:spMk id="32" creationId="{E4E3A91C-A0F3-2DBD-3A42-4B868F01CE67}"/>
          </ac:spMkLst>
        </pc:spChg>
        <pc:spChg chg="mod">
          <ac:chgData name="Elgee, Jeffrey (SPAC/PSPC)" userId="e10f0e9c-c03f-4fde-9113-11216b420c44" providerId="ADAL" clId="{8A22DB22-CE08-4237-BAFA-661B83772496}" dt="2024-06-05T18:38:29.168" v="46" actId="1076"/>
          <ac:spMkLst>
            <pc:docMk/>
            <pc:sldMk cId="3194185217" sldId="5000"/>
            <ac:spMk id="33" creationId="{0887182C-EA58-F4C8-0A6F-6284E60A0077}"/>
          </ac:spMkLst>
        </pc:spChg>
        <pc:spChg chg="mod">
          <ac:chgData name="Elgee, Jeffrey (SPAC/PSPC)" userId="e10f0e9c-c03f-4fde-9113-11216b420c44" providerId="ADAL" clId="{8A22DB22-CE08-4237-BAFA-661B83772496}" dt="2024-06-05T18:38:29.168" v="46" actId="1076"/>
          <ac:spMkLst>
            <pc:docMk/>
            <pc:sldMk cId="3194185217" sldId="5000"/>
            <ac:spMk id="34" creationId="{85F2CEB4-D0CB-A3BD-A40A-DDA728B058F9}"/>
          </ac:spMkLst>
        </pc:spChg>
        <pc:spChg chg="mod">
          <ac:chgData name="Elgee, Jeffrey (SPAC/PSPC)" userId="e10f0e9c-c03f-4fde-9113-11216b420c44" providerId="ADAL" clId="{8A22DB22-CE08-4237-BAFA-661B83772496}" dt="2024-06-05T18:38:29.168" v="46" actId="1076"/>
          <ac:spMkLst>
            <pc:docMk/>
            <pc:sldMk cId="3194185217" sldId="5000"/>
            <ac:spMk id="35" creationId="{F5C5410F-2121-82CA-883E-FE65EBEADE9B}"/>
          </ac:spMkLst>
        </pc:spChg>
        <pc:spChg chg="mod">
          <ac:chgData name="Elgee, Jeffrey (SPAC/PSPC)" userId="e10f0e9c-c03f-4fde-9113-11216b420c44" providerId="ADAL" clId="{8A22DB22-CE08-4237-BAFA-661B83772496}" dt="2024-06-05T18:38:29.168" v="46" actId="1076"/>
          <ac:spMkLst>
            <pc:docMk/>
            <pc:sldMk cId="3194185217" sldId="5000"/>
            <ac:spMk id="36" creationId="{E164CD8B-6519-6488-697B-850EC3B890A6}"/>
          </ac:spMkLst>
        </pc:spChg>
        <pc:spChg chg="mod">
          <ac:chgData name="Elgee, Jeffrey (SPAC/PSPC)" userId="e10f0e9c-c03f-4fde-9113-11216b420c44" providerId="ADAL" clId="{8A22DB22-CE08-4237-BAFA-661B83772496}" dt="2024-06-05T18:39:08.013" v="73" actId="1076"/>
          <ac:spMkLst>
            <pc:docMk/>
            <pc:sldMk cId="3194185217" sldId="5000"/>
            <ac:spMk id="37" creationId="{A8AC4175-8E9A-70C2-56A5-B068A8EFB7D5}"/>
          </ac:spMkLst>
        </pc:spChg>
        <pc:spChg chg="mod">
          <ac:chgData name="Elgee, Jeffrey (SPAC/PSPC)" userId="e10f0e9c-c03f-4fde-9113-11216b420c44" providerId="ADAL" clId="{8A22DB22-CE08-4237-BAFA-661B83772496}" dt="2024-06-05T18:39:08.013" v="73" actId="1076"/>
          <ac:spMkLst>
            <pc:docMk/>
            <pc:sldMk cId="3194185217" sldId="5000"/>
            <ac:spMk id="38" creationId="{67744030-6713-B9D7-0991-3B82A9C289EE}"/>
          </ac:spMkLst>
        </pc:spChg>
        <pc:spChg chg="mod">
          <ac:chgData name="Elgee, Jeffrey (SPAC/PSPC)" userId="e10f0e9c-c03f-4fde-9113-11216b420c44" providerId="ADAL" clId="{8A22DB22-CE08-4237-BAFA-661B83772496}" dt="2024-06-05T18:39:08.013" v="73" actId="1076"/>
          <ac:spMkLst>
            <pc:docMk/>
            <pc:sldMk cId="3194185217" sldId="5000"/>
            <ac:spMk id="39" creationId="{3E97E9F0-DC56-D100-7B11-AEF055A97DCA}"/>
          </ac:spMkLst>
        </pc:spChg>
        <pc:spChg chg="mod">
          <ac:chgData name="Elgee, Jeffrey (SPAC/PSPC)" userId="e10f0e9c-c03f-4fde-9113-11216b420c44" providerId="ADAL" clId="{8A22DB22-CE08-4237-BAFA-661B83772496}" dt="2024-06-05T18:39:08.013" v="73" actId="1076"/>
          <ac:spMkLst>
            <pc:docMk/>
            <pc:sldMk cId="3194185217" sldId="5000"/>
            <ac:spMk id="40" creationId="{F7073BE9-1671-FEE7-C881-346A3AE2C475}"/>
          </ac:spMkLst>
        </pc:spChg>
        <pc:spChg chg="mod">
          <ac:chgData name="Elgee, Jeffrey (SPAC/PSPC)" userId="e10f0e9c-c03f-4fde-9113-11216b420c44" providerId="ADAL" clId="{8A22DB22-CE08-4237-BAFA-661B83772496}" dt="2024-06-05T18:39:08.013" v="73" actId="1076"/>
          <ac:spMkLst>
            <pc:docMk/>
            <pc:sldMk cId="3194185217" sldId="5000"/>
            <ac:spMk id="41" creationId="{06CC2BB9-287A-6152-62E0-425567B829A1}"/>
          </ac:spMkLst>
        </pc:spChg>
        <pc:spChg chg="mod">
          <ac:chgData name="Elgee, Jeffrey (SPAC/PSPC)" userId="e10f0e9c-c03f-4fde-9113-11216b420c44" providerId="ADAL" clId="{8A22DB22-CE08-4237-BAFA-661B83772496}" dt="2024-06-05T18:38:29.168" v="46" actId="1076"/>
          <ac:spMkLst>
            <pc:docMk/>
            <pc:sldMk cId="3194185217" sldId="5000"/>
            <ac:spMk id="42" creationId="{6893D8D9-32DD-CF92-2CC1-CE7B0500E134}"/>
          </ac:spMkLst>
        </pc:spChg>
        <pc:spChg chg="mod">
          <ac:chgData name="Elgee, Jeffrey (SPAC/PSPC)" userId="e10f0e9c-c03f-4fde-9113-11216b420c44" providerId="ADAL" clId="{8A22DB22-CE08-4237-BAFA-661B83772496}" dt="2024-06-05T18:38:29.168" v="46" actId="1076"/>
          <ac:spMkLst>
            <pc:docMk/>
            <pc:sldMk cId="3194185217" sldId="5000"/>
            <ac:spMk id="43" creationId="{C333FD2E-87B7-6B14-3D2B-9E4CCA21AA9E}"/>
          </ac:spMkLst>
        </pc:spChg>
        <pc:spChg chg="mod">
          <ac:chgData name="Elgee, Jeffrey (SPAC/PSPC)" userId="e10f0e9c-c03f-4fde-9113-11216b420c44" providerId="ADAL" clId="{8A22DB22-CE08-4237-BAFA-661B83772496}" dt="2024-06-05T18:38:29.168" v="46" actId="1076"/>
          <ac:spMkLst>
            <pc:docMk/>
            <pc:sldMk cId="3194185217" sldId="5000"/>
            <ac:spMk id="44" creationId="{416A71BF-C1C4-B629-38F7-60E0683827BE}"/>
          </ac:spMkLst>
        </pc:spChg>
        <pc:spChg chg="mod">
          <ac:chgData name="Elgee, Jeffrey (SPAC/PSPC)" userId="e10f0e9c-c03f-4fde-9113-11216b420c44" providerId="ADAL" clId="{8A22DB22-CE08-4237-BAFA-661B83772496}" dt="2024-06-05T18:38:29.168" v="46" actId="1076"/>
          <ac:spMkLst>
            <pc:docMk/>
            <pc:sldMk cId="3194185217" sldId="5000"/>
            <ac:spMk id="45" creationId="{98C5E74F-CC52-BDD5-5039-BC7A60803549}"/>
          </ac:spMkLst>
        </pc:spChg>
        <pc:spChg chg="mod">
          <ac:chgData name="Elgee, Jeffrey (SPAC/PSPC)" userId="e10f0e9c-c03f-4fde-9113-11216b420c44" providerId="ADAL" clId="{8A22DB22-CE08-4237-BAFA-661B83772496}" dt="2024-06-05T18:38:29.168" v="46" actId="1076"/>
          <ac:spMkLst>
            <pc:docMk/>
            <pc:sldMk cId="3194185217" sldId="5000"/>
            <ac:spMk id="46" creationId="{F5D8FDAD-571E-8BED-294E-116FD8CF6864}"/>
          </ac:spMkLst>
        </pc:spChg>
        <pc:spChg chg="mod">
          <ac:chgData name="Elgee, Jeffrey (SPAC/PSPC)" userId="e10f0e9c-c03f-4fde-9113-11216b420c44" providerId="ADAL" clId="{8A22DB22-CE08-4237-BAFA-661B83772496}" dt="2024-06-05T18:39:08.013" v="73" actId="1076"/>
          <ac:spMkLst>
            <pc:docMk/>
            <pc:sldMk cId="3194185217" sldId="5000"/>
            <ac:spMk id="47" creationId="{3B176C01-B35C-12A0-C785-76E84702C722}"/>
          </ac:spMkLst>
        </pc:spChg>
        <pc:spChg chg="mod">
          <ac:chgData name="Elgee, Jeffrey (SPAC/PSPC)" userId="e10f0e9c-c03f-4fde-9113-11216b420c44" providerId="ADAL" clId="{8A22DB22-CE08-4237-BAFA-661B83772496}" dt="2024-06-05T18:39:08.013" v="73" actId="1076"/>
          <ac:spMkLst>
            <pc:docMk/>
            <pc:sldMk cId="3194185217" sldId="5000"/>
            <ac:spMk id="48" creationId="{CBCCEA58-A032-F97E-E1D2-BA10AAA854E1}"/>
          </ac:spMkLst>
        </pc:spChg>
        <pc:spChg chg="mod">
          <ac:chgData name="Elgee, Jeffrey (SPAC/PSPC)" userId="e10f0e9c-c03f-4fde-9113-11216b420c44" providerId="ADAL" clId="{8A22DB22-CE08-4237-BAFA-661B83772496}" dt="2024-06-05T18:39:08.013" v="73" actId="1076"/>
          <ac:spMkLst>
            <pc:docMk/>
            <pc:sldMk cId="3194185217" sldId="5000"/>
            <ac:spMk id="49" creationId="{A13F8D29-D7AF-4059-F46B-DB7C1E8CA600}"/>
          </ac:spMkLst>
        </pc:spChg>
        <pc:spChg chg="mod">
          <ac:chgData name="Elgee, Jeffrey (SPAC/PSPC)" userId="e10f0e9c-c03f-4fde-9113-11216b420c44" providerId="ADAL" clId="{8A22DB22-CE08-4237-BAFA-661B83772496}" dt="2024-06-05T18:39:08.013" v="73" actId="1076"/>
          <ac:spMkLst>
            <pc:docMk/>
            <pc:sldMk cId="3194185217" sldId="5000"/>
            <ac:spMk id="50" creationId="{8B2A6E12-EE1D-E7A4-79CD-487DA302FC38}"/>
          </ac:spMkLst>
        </pc:spChg>
        <pc:spChg chg="mod">
          <ac:chgData name="Elgee, Jeffrey (SPAC/PSPC)" userId="e10f0e9c-c03f-4fde-9113-11216b420c44" providerId="ADAL" clId="{8A22DB22-CE08-4237-BAFA-661B83772496}" dt="2024-06-05T18:39:08.013" v="73" actId="1076"/>
          <ac:spMkLst>
            <pc:docMk/>
            <pc:sldMk cId="3194185217" sldId="5000"/>
            <ac:spMk id="51" creationId="{0B3E6690-78E2-CF8D-8F0F-EA15ECF5FBD6}"/>
          </ac:spMkLst>
        </pc:spChg>
        <pc:spChg chg="mod">
          <ac:chgData name="Elgee, Jeffrey (SPAC/PSPC)" userId="e10f0e9c-c03f-4fde-9113-11216b420c44" providerId="ADAL" clId="{8A22DB22-CE08-4237-BAFA-661B83772496}" dt="2024-06-05T18:38:29.168" v="46" actId="1076"/>
          <ac:spMkLst>
            <pc:docMk/>
            <pc:sldMk cId="3194185217" sldId="5000"/>
            <ac:spMk id="52" creationId="{7DDC9965-13FC-63C2-649C-6DD553949BEA}"/>
          </ac:spMkLst>
        </pc:spChg>
        <pc:spChg chg="mod">
          <ac:chgData name="Elgee, Jeffrey (SPAC/PSPC)" userId="e10f0e9c-c03f-4fde-9113-11216b420c44" providerId="ADAL" clId="{8A22DB22-CE08-4237-BAFA-661B83772496}" dt="2024-06-05T18:38:29.168" v="46" actId="1076"/>
          <ac:spMkLst>
            <pc:docMk/>
            <pc:sldMk cId="3194185217" sldId="5000"/>
            <ac:spMk id="53" creationId="{E8CD7EF2-FC5D-142D-E39A-979698AF67B5}"/>
          </ac:spMkLst>
        </pc:spChg>
        <pc:spChg chg="mod">
          <ac:chgData name="Elgee, Jeffrey (SPAC/PSPC)" userId="e10f0e9c-c03f-4fde-9113-11216b420c44" providerId="ADAL" clId="{8A22DB22-CE08-4237-BAFA-661B83772496}" dt="2024-06-05T18:38:29.168" v="46" actId="1076"/>
          <ac:spMkLst>
            <pc:docMk/>
            <pc:sldMk cId="3194185217" sldId="5000"/>
            <ac:spMk id="54" creationId="{A2738999-A52D-6EBC-35EB-31AA0796BD36}"/>
          </ac:spMkLst>
        </pc:spChg>
        <pc:spChg chg="mod">
          <ac:chgData name="Elgee, Jeffrey (SPAC/PSPC)" userId="e10f0e9c-c03f-4fde-9113-11216b420c44" providerId="ADAL" clId="{8A22DB22-CE08-4237-BAFA-661B83772496}" dt="2024-06-05T18:38:29.168" v="46" actId="1076"/>
          <ac:spMkLst>
            <pc:docMk/>
            <pc:sldMk cId="3194185217" sldId="5000"/>
            <ac:spMk id="55" creationId="{6F996561-7321-3323-DBAF-F6D9CE1FF309}"/>
          </ac:spMkLst>
        </pc:spChg>
        <pc:spChg chg="mod">
          <ac:chgData name="Elgee, Jeffrey (SPAC/PSPC)" userId="e10f0e9c-c03f-4fde-9113-11216b420c44" providerId="ADAL" clId="{8A22DB22-CE08-4237-BAFA-661B83772496}" dt="2024-06-05T18:38:29.168" v="46" actId="1076"/>
          <ac:spMkLst>
            <pc:docMk/>
            <pc:sldMk cId="3194185217" sldId="5000"/>
            <ac:spMk id="56" creationId="{5A3ED452-BE60-181F-9C97-203C7BF40DA7}"/>
          </ac:spMkLst>
        </pc:spChg>
        <pc:spChg chg="mod">
          <ac:chgData name="Elgee, Jeffrey (SPAC/PSPC)" userId="e10f0e9c-c03f-4fde-9113-11216b420c44" providerId="ADAL" clId="{8A22DB22-CE08-4237-BAFA-661B83772496}" dt="2024-06-05T18:39:08.013" v="73" actId="1076"/>
          <ac:spMkLst>
            <pc:docMk/>
            <pc:sldMk cId="3194185217" sldId="5000"/>
            <ac:spMk id="57" creationId="{1EC8989F-4D83-6D20-1012-6F5C584E9D6D}"/>
          </ac:spMkLst>
        </pc:spChg>
        <pc:spChg chg="mod">
          <ac:chgData name="Elgee, Jeffrey (SPAC/PSPC)" userId="e10f0e9c-c03f-4fde-9113-11216b420c44" providerId="ADAL" clId="{8A22DB22-CE08-4237-BAFA-661B83772496}" dt="2024-06-05T18:39:08.013" v="73" actId="1076"/>
          <ac:spMkLst>
            <pc:docMk/>
            <pc:sldMk cId="3194185217" sldId="5000"/>
            <ac:spMk id="58" creationId="{815DE183-7218-A4B1-B860-C06F4309AA3D}"/>
          </ac:spMkLst>
        </pc:spChg>
        <pc:spChg chg="del mod">
          <ac:chgData name="Elgee, Jeffrey (SPAC/PSPC)" userId="e10f0e9c-c03f-4fde-9113-11216b420c44" providerId="ADAL" clId="{8A22DB22-CE08-4237-BAFA-661B83772496}" dt="2024-06-05T18:37:45.414" v="42" actId="478"/>
          <ac:spMkLst>
            <pc:docMk/>
            <pc:sldMk cId="3194185217" sldId="5000"/>
            <ac:spMk id="59" creationId="{0CDCC43A-E910-ADA2-52ED-C41D553C3D75}"/>
          </ac:spMkLst>
        </pc:spChg>
        <pc:spChg chg="mod">
          <ac:chgData name="Elgee, Jeffrey (SPAC/PSPC)" userId="e10f0e9c-c03f-4fde-9113-11216b420c44" providerId="ADAL" clId="{8A22DB22-CE08-4237-BAFA-661B83772496}" dt="2024-06-05T18:33:18.979" v="25" actId="571"/>
          <ac:spMkLst>
            <pc:docMk/>
            <pc:sldMk cId="3194185217" sldId="5000"/>
            <ac:spMk id="62" creationId="{5782BE9B-2DA4-9E7F-B316-A6EE751FB6AD}"/>
          </ac:spMkLst>
        </pc:spChg>
        <pc:spChg chg="mod">
          <ac:chgData name="Elgee, Jeffrey (SPAC/PSPC)" userId="e10f0e9c-c03f-4fde-9113-11216b420c44" providerId="ADAL" clId="{8A22DB22-CE08-4237-BAFA-661B83772496}" dt="2024-06-05T18:33:18.979" v="25" actId="571"/>
          <ac:spMkLst>
            <pc:docMk/>
            <pc:sldMk cId="3194185217" sldId="5000"/>
            <ac:spMk id="64" creationId="{45855FC7-0B38-C3F8-AFE7-BDEDD1B91CF4}"/>
          </ac:spMkLst>
        </pc:spChg>
        <pc:spChg chg="mod">
          <ac:chgData name="Elgee, Jeffrey (SPAC/PSPC)" userId="e10f0e9c-c03f-4fde-9113-11216b420c44" providerId="ADAL" clId="{8A22DB22-CE08-4237-BAFA-661B83772496}" dt="2024-06-05T18:33:18.979" v="25" actId="571"/>
          <ac:spMkLst>
            <pc:docMk/>
            <pc:sldMk cId="3194185217" sldId="5000"/>
            <ac:spMk id="65" creationId="{F1D04CFE-85CE-CB35-D9A6-4088A8212AC2}"/>
          </ac:spMkLst>
        </pc:spChg>
        <pc:spChg chg="mod">
          <ac:chgData name="Elgee, Jeffrey (SPAC/PSPC)" userId="e10f0e9c-c03f-4fde-9113-11216b420c44" providerId="ADAL" clId="{8A22DB22-CE08-4237-BAFA-661B83772496}" dt="2024-06-05T18:33:18.979" v="25" actId="571"/>
          <ac:spMkLst>
            <pc:docMk/>
            <pc:sldMk cId="3194185217" sldId="5000"/>
            <ac:spMk id="67" creationId="{1321C3BD-88DD-C688-5910-FBAD83F66D2C}"/>
          </ac:spMkLst>
        </pc:spChg>
        <pc:spChg chg="mod">
          <ac:chgData name="Elgee, Jeffrey (SPAC/PSPC)" userId="e10f0e9c-c03f-4fde-9113-11216b420c44" providerId="ADAL" clId="{8A22DB22-CE08-4237-BAFA-661B83772496}" dt="2024-06-05T18:33:18.979" v="25" actId="571"/>
          <ac:spMkLst>
            <pc:docMk/>
            <pc:sldMk cId="3194185217" sldId="5000"/>
            <ac:spMk id="68" creationId="{AC66B73B-D041-44D2-DE28-1F67D152F3A1}"/>
          </ac:spMkLst>
        </pc:spChg>
        <pc:spChg chg="mod">
          <ac:chgData name="Elgee, Jeffrey (SPAC/PSPC)" userId="e10f0e9c-c03f-4fde-9113-11216b420c44" providerId="ADAL" clId="{8A22DB22-CE08-4237-BAFA-661B83772496}" dt="2024-06-05T18:33:18.979" v="25" actId="571"/>
          <ac:spMkLst>
            <pc:docMk/>
            <pc:sldMk cId="3194185217" sldId="5000"/>
            <ac:spMk id="69" creationId="{CDB7C5CD-F4AC-8A66-5378-BF3E4CB2B2A8}"/>
          </ac:spMkLst>
        </pc:spChg>
        <pc:spChg chg="mod">
          <ac:chgData name="Elgee, Jeffrey (SPAC/PSPC)" userId="e10f0e9c-c03f-4fde-9113-11216b420c44" providerId="ADAL" clId="{8A22DB22-CE08-4237-BAFA-661B83772496}" dt="2024-06-05T18:33:18.979" v="25" actId="571"/>
          <ac:spMkLst>
            <pc:docMk/>
            <pc:sldMk cId="3194185217" sldId="5000"/>
            <ac:spMk id="70" creationId="{0345FD51-2B7B-EF07-5887-2EBFDF34C717}"/>
          </ac:spMkLst>
        </pc:spChg>
        <pc:spChg chg="mod">
          <ac:chgData name="Elgee, Jeffrey (SPAC/PSPC)" userId="e10f0e9c-c03f-4fde-9113-11216b420c44" providerId="ADAL" clId="{8A22DB22-CE08-4237-BAFA-661B83772496}" dt="2024-06-05T18:33:18.979" v="25" actId="571"/>
          <ac:spMkLst>
            <pc:docMk/>
            <pc:sldMk cId="3194185217" sldId="5000"/>
            <ac:spMk id="71" creationId="{C6BF1ADF-E135-B21B-74D8-9F28DBAAFD66}"/>
          </ac:spMkLst>
        </pc:spChg>
        <pc:spChg chg="mod">
          <ac:chgData name="Elgee, Jeffrey (SPAC/PSPC)" userId="e10f0e9c-c03f-4fde-9113-11216b420c44" providerId="ADAL" clId="{8A22DB22-CE08-4237-BAFA-661B83772496}" dt="2024-06-05T18:33:18.979" v="25" actId="571"/>
          <ac:spMkLst>
            <pc:docMk/>
            <pc:sldMk cId="3194185217" sldId="5000"/>
            <ac:spMk id="72" creationId="{539BFB47-01E8-3E08-8FB1-2F7C72B27323}"/>
          </ac:spMkLst>
        </pc:spChg>
        <pc:spChg chg="mod">
          <ac:chgData name="Elgee, Jeffrey (SPAC/PSPC)" userId="e10f0e9c-c03f-4fde-9113-11216b420c44" providerId="ADAL" clId="{8A22DB22-CE08-4237-BAFA-661B83772496}" dt="2024-06-05T18:33:18.979" v="25" actId="571"/>
          <ac:spMkLst>
            <pc:docMk/>
            <pc:sldMk cId="3194185217" sldId="5000"/>
            <ac:spMk id="73" creationId="{AC9D358B-D420-79BA-6D60-04D058CBF1FA}"/>
          </ac:spMkLst>
        </pc:spChg>
        <pc:spChg chg="mod">
          <ac:chgData name="Elgee, Jeffrey (SPAC/PSPC)" userId="e10f0e9c-c03f-4fde-9113-11216b420c44" providerId="ADAL" clId="{8A22DB22-CE08-4237-BAFA-661B83772496}" dt="2024-06-05T18:33:18.979" v="25" actId="571"/>
          <ac:spMkLst>
            <pc:docMk/>
            <pc:sldMk cId="3194185217" sldId="5000"/>
            <ac:spMk id="74" creationId="{1B335456-D634-A7D1-484E-B60B8D80EDC3}"/>
          </ac:spMkLst>
        </pc:spChg>
        <pc:spChg chg="mod">
          <ac:chgData name="Elgee, Jeffrey (SPAC/PSPC)" userId="e10f0e9c-c03f-4fde-9113-11216b420c44" providerId="ADAL" clId="{8A22DB22-CE08-4237-BAFA-661B83772496}" dt="2024-06-05T18:33:18.979" v="25" actId="571"/>
          <ac:spMkLst>
            <pc:docMk/>
            <pc:sldMk cId="3194185217" sldId="5000"/>
            <ac:spMk id="75" creationId="{21FEA7B0-C92C-4F85-D04E-D2A6ED4CADE4}"/>
          </ac:spMkLst>
        </pc:spChg>
        <pc:spChg chg="mod">
          <ac:chgData name="Elgee, Jeffrey (SPAC/PSPC)" userId="e10f0e9c-c03f-4fde-9113-11216b420c44" providerId="ADAL" clId="{8A22DB22-CE08-4237-BAFA-661B83772496}" dt="2024-06-05T18:33:18.979" v="25" actId="571"/>
          <ac:spMkLst>
            <pc:docMk/>
            <pc:sldMk cId="3194185217" sldId="5000"/>
            <ac:spMk id="76" creationId="{ABEE8544-1D26-9200-CDF0-D1350CA08421}"/>
          </ac:spMkLst>
        </pc:spChg>
        <pc:spChg chg="mod">
          <ac:chgData name="Elgee, Jeffrey (SPAC/PSPC)" userId="e10f0e9c-c03f-4fde-9113-11216b420c44" providerId="ADAL" clId="{8A22DB22-CE08-4237-BAFA-661B83772496}" dt="2024-06-05T18:33:18.979" v="25" actId="571"/>
          <ac:spMkLst>
            <pc:docMk/>
            <pc:sldMk cId="3194185217" sldId="5000"/>
            <ac:spMk id="77" creationId="{E44F8EE3-ED60-217F-00DB-6DEA5587984D}"/>
          </ac:spMkLst>
        </pc:spChg>
        <pc:spChg chg="mod">
          <ac:chgData name="Elgee, Jeffrey (SPAC/PSPC)" userId="e10f0e9c-c03f-4fde-9113-11216b420c44" providerId="ADAL" clId="{8A22DB22-CE08-4237-BAFA-661B83772496}" dt="2024-06-05T18:33:18.979" v="25" actId="571"/>
          <ac:spMkLst>
            <pc:docMk/>
            <pc:sldMk cId="3194185217" sldId="5000"/>
            <ac:spMk id="78" creationId="{721FD5B1-B8E8-81F5-1A1C-B73F2499E044}"/>
          </ac:spMkLst>
        </pc:spChg>
        <pc:spChg chg="mod">
          <ac:chgData name="Elgee, Jeffrey (SPAC/PSPC)" userId="e10f0e9c-c03f-4fde-9113-11216b420c44" providerId="ADAL" clId="{8A22DB22-CE08-4237-BAFA-661B83772496}" dt="2024-06-05T18:33:18.979" v="25" actId="571"/>
          <ac:spMkLst>
            <pc:docMk/>
            <pc:sldMk cId="3194185217" sldId="5000"/>
            <ac:spMk id="79" creationId="{59CB107C-EFA5-0571-874A-71E040057DA9}"/>
          </ac:spMkLst>
        </pc:spChg>
        <pc:spChg chg="mod">
          <ac:chgData name="Elgee, Jeffrey (SPAC/PSPC)" userId="e10f0e9c-c03f-4fde-9113-11216b420c44" providerId="ADAL" clId="{8A22DB22-CE08-4237-BAFA-661B83772496}" dt="2024-06-05T18:33:18.979" v="25" actId="571"/>
          <ac:spMkLst>
            <pc:docMk/>
            <pc:sldMk cId="3194185217" sldId="5000"/>
            <ac:spMk id="80" creationId="{3628AC16-36E1-9F26-FCE2-3D4ACC068FED}"/>
          </ac:spMkLst>
        </pc:spChg>
        <pc:spChg chg="mod">
          <ac:chgData name="Elgee, Jeffrey (SPAC/PSPC)" userId="e10f0e9c-c03f-4fde-9113-11216b420c44" providerId="ADAL" clId="{8A22DB22-CE08-4237-BAFA-661B83772496}" dt="2024-06-05T18:33:18.979" v="25" actId="571"/>
          <ac:spMkLst>
            <pc:docMk/>
            <pc:sldMk cId="3194185217" sldId="5000"/>
            <ac:spMk id="81" creationId="{55B8F6F9-30B5-38AD-5C41-FF97AE574FB1}"/>
          </ac:spMkLst>
        </pc:spChg>
        <pc:spChg chg="mod">
          <ac:chgData name="Elgee, Jeffrey (SPAC/PSPC)" userId="e10f0e9c-c03f-4fde-9113-11216b420c44" providerId="ADAL" clId="{8A22DB22-CE08-4237-BAFA-661B83772496}" dt="2024-06-05T18:33:18.979" v="25" actId="571"/>
          <ac:spMkLst>
            <pc:docMk/>
            <pc:sldMk cId="3194185217" sldId="5000"/>
            <ac:spMk id="82" creationId="{04074352-6561-469C-9CA8-58B3994C0B48}"/>
          </ac:spMkLst>
        </pc:spChg>
        <pc:spChg chg="mod">
          <ac:chgData name="Elgee, Jeffrey (SPAC/PSPC)" userId="e10f0e9c-c03f-4fde-9113-11216b420c44" providerId="ADAL" clId="{8A22DB22-CE08-4237-BAFA-661B83772496}" dt="2024-06-05T18:33:18.979" v="25" actId="571"/>
          <ac:spMkLst>
            <pc:docMk/>
            <pc:sldMk cId="3194185217" sldId="5000"/>
            <ac:spMk id="83" creationId="{1FF1D28E-71DB-BB24-D0F9-B7127B862037}"/>
          </ac:spMkLst>
        </pc:spChg>
        <pc:spChg chg="mod">
          <ac:chgData name="Elgee, Jeffrey (SPAC/PSPC)" userId="e10f0e9c-c03f-4fde-9113-11216b420c44" providerId="ADAL" clId="{8A22DB22-CE08-4237-BAFA-661B83772496}" dt="2024-06-05T18:33:18.979" v="25" actId="571"/>
          <ac:spMkLst>
            <pc:docMk/>
            <pc:sldMk cId="3194185217" sldId="5000"/>
            <ac:spMk id="84" creationId="{4A95BE5C-9695-5A49-5F7B-42E0D306B511}"/>
          </ac:spMkLst>
        </pc:spChg>
        <pc:spChg chg="mod">
          <ac:chgData name="Elgee, Jeffrey (SPAC/PSPC)" userId="e10f0e9c-c03f-4fde-9113-11216b420c44" providerId="ADAL" clId="{8A22DB22-CE08-4237-BAFA-661B83772496}" dt="2024-06-05T18:36:23.554" v="38" actId="207"/>
          <ac:spMkLst>
            <pc:docMk/>
            <pc:sldMk cId="3194185217" sldId="5000"/>
            <ac:spMk id="85" creationId="{C71A26AD-7EF2-1E88-3459-C38894A489EA}"/>
          </ac:spMkLst>
        </pc:spChg>
        <pc:spChg chg="mod">
          <ac:chgData name="Elgee, Jeffrey (SPAC/PSPC)" userId="e10f0e9c-c03f-4fde-9113-11216b420c44" providerId="ADAL" clId="{8A22DB22-CE08-4237-BAFA-661B83772496}" dt="2024-06-05T18:33:18.979" v="25" actId="571"/>
          <ac:spMkLst>
            <pc:docMk/>
            <pc:sldMk cId="3194185217" sldId="5000"/>
            <ac:spMk id="86" creationId="{E2DC76E6-D970-DFF5-B90F-B7A37D44948C}"/>
          </ac:spMkLst>
        </pc:spChg>
        <pc:spChg chg="mod">
          <ac:chgData name="Elgee, Jeffrey (SPAC/PSPC)" userId="e10f0e9c-c03f-4fde-9113-11216b420c44" providerId="ADAL" clId="{8A22DB22-CE08-4237-BAFA-661B83772496}" dt="2024-06-05T18:33:18.979" v="25" actId="571"/>
          <ac:spMkLst>
            <pc:docMk/>
            <pc:sldMk cId="3194185217" sldId="5000"/>
            <ac:spMk id="87" creationId="{F30F4DAF-7030-3561-F330-42BCA5B33E01}"/>
          </ac:spMkLst>
        </pc:spChg>
        <pc:spChg chg="mod">
          <ac:chgData name="Elgee, Jeffrey (SPAC/PSPC)" userId="e10f0e9c-c03f-4fde-9113-11216b420c44" providerId="ADAL" clId="{8A22DB22-CE08-4237-BAFA-661B83772496}" dt="2024-06-05T18:33:18.979" v="25" actId="571"/>
          <ac:spMkLst>
            <pc:docMk/>
            <pc:sldMk cId="3194185217" sldId="5000"/>
            <ac:spMk id="88" creationId="{3C579C58-B8F2-9B89-39A4-CE396AD876FA}"/>
          </ac:spMkLst>
        </pc:spChg>
        <pc:spChg chg="mod">
          <ac:chgData name="Elgee, Jeffrey (SPAC/PSPC)" userId="e10f0e9c-c03f-4fde-9113-11216b420c44" providerId="ADAL" clId="{8A22DB22-CE08-4237-BAFA-661B83772496}" dt="2024-06-05T18:33:18.979" v="25" actId="571"/>
          <ac:spMkLst>
            <pc:docMk/>
            <pc:sldMk cId="3194185217" sldId="5000"/>
            <ac:spMk id="89" creationId="{77BAA2A7-9892-D252-FEB0-4274F4B26BFB}"/>
          </ac:spMkLst>
        </pc:spChg>
        <pc:spChg chg="mod">
          <ac:chgData name="Elgee, Jeffrey (SPAC/PSPC)" userId="e10f0e9c-c03f-4fde-9113-11216b420c44" providerId="ADAL" clId="{8A22DB22-CE08-4237-BAFA-661B83772496}" dt="2024-06-05T18:33:18.979" v="25" actId="571"/>
          <ac:spMkLst>
            <pc:docMk/>
            <pc:sldMk cId="3194185217" sldId="5000"/>
            <ac:spMk id="90" creationId="{20801CB3-FA6C-754B-C6C6-26EDFB7EF772}"/>
          </ac:spMkLst>
        </pc:spChg>
        <pc:spChg chg="mod">
          <ac:chgData name="Elgee, Jeffrey (SPAC/PSPC)" userId="e10f0e9c-c03f-4fde-9113-11216b420c44" providerId="ADAL" clId="{8A22DB22-CE08-4237-BAFA-661B83772496}" dt="2024-06-05T18:33:18.979" v="25" actId="571"/>
          <ac:spMkLst>
            <pc:docMk/>
            <pc:sldMk cId="3194185217" sldId="5000"/>
            <ac:spMk id="91" creationId="{0200689D-EE6B-6145-A12C-BE279410E9F1}"/>
          </ac:spMkLst>
        </pc:spChg>
        <pc:spChg chg="mod">
          <ac:chgData name="Elgee, Jeffrey (SPAC/PSPC)" userId="e10f0e9c-c03f-4fde-9113-11216b420c44" providerId="ADAL" clId="{8A22DB22-CE08-4237-BAFA-661B83772496}" dt="2024-06-05T20:47:12.647" v="153" actId="207"/>
          <ac:spMkLst>
            <pc:docMk/>
            <pc:sldMk cId="3194185217" sldId="5000"/>
            <ac:spMk id="92" creationId="{2B387E84-5579-4099-4E6C-397361752321}"/>
          </ac:spMkLst>
        </pc:spChg>
        <pc:spChg chg="mod">
          <ac:chgData name="Elgee, Jeffrey (SPAC/PSPC)" userId="e10f0e9c-c03f-4fde-9113-11216b420c44" providerId="ADAL" clId="{8A22DB22-CE08-4237-BAFA-661B83772496}" dt="2024-06-05T18:33:18.979" v="25" actId="571"/>
          <ac:spMkLst>
            <pc:docMk/>
            <pc:sldMk cId="3194185217" sldId="5000"/>
            <ac:spMk id="93" creationId="{9A0275B6-C321-7E11-4AF0-0FFBB26A3840}"/>
          </ac:spMkLst>
        </pc:spChg>
        <pc:spChg chg="mod">
          <ac:chgData name="Elgee, Jeffrey (SPAC/PSPC)" userId="e10f0e9c-c03f-4fde-9113-11216b420c44" providerId="ADAL" clId="{8A22DB22-CE08-4237-BAFA-661B83772496}" dt="2024-06-05T18:33:18.979" v="25" actId="571"/>
          <ac:spMkLst>
            <pc:docMk/>
            <pc:sldMk cId="3194185217" sldId="5000"/>
            <ac:spMk id="94" creationId="{816E36D8-4D0D-276D-9D29-0E1CF4EA29AF}"/>
          </ac:spMkLst>
        </pc:spChg>
        <pc:spChg chg="mod">
          <ac:chgData name="Elgee, Jeffrey (SPAC/PSPC)" userId="e10f0e9c-c03f-4fde-9113-11216b420c44" providerId="ADAL" clId="{8A22DB22-CE08-4237-BAFA-661B83772496}" dt="2024-06-05T18:33:18.979" v="25" actId="571"/>
          <ac:spMkLst>
            <pc:docMk/>
            <pc:sldMk cId="3194185217" sldId="5000"/>
            <ac:spMk id="95" creationId="{B406834C-98FA-B5CC-19A2-C0A6B60B4A99}"/>
          </ac:spMkLst>
        </pc:spChg>
        <pc:spChg chg="mod">
          <ac:chgData name="Elgee, Jeffrey (SPAC/PSPC)" userId="e10f0e9c-c03f-4fde-9113-11216b420c44" providerId="ADAL" clId="{8A22DB22-CE08-4237-BAFA-661B83772496}" dt="2024-06-05T18:33:18.979" v="25" actId="571"/>
          <ac:spMkLst>
            <pc:docMk/>
            <pc:sldMk cId="3194185217" sldId="5000"/>
            <ac:spMk id="96" creationId="{D23CECA9-93C2-90B1-7592-4A25ED3A0C27}"/>
          </ac:spMkLst>
        </pc:spChg>
        <pc:spChg chg="mod">
          <ac:chgData name="Elgee, Jeffrey (SPAC/PSPC)" userId="e10f0e9c-c03f-4fde-9113-11216b420c44" providerId="ADAL" clId="{8A22DB22-CE08-4237-BAFA-661B83772496}" dt="2024-06-05T18:33:18.979" v="25" actId="571"/>
          <ac:spMkLst>
            <pc:docMk/>
            <pc:sldMk cId="3194185217" sldId="5000"/>
            <ac:spMk id="97" creationId="{D72090B6-A1EC-D213-3FC8-3B15E5F8EE7B}"/>
          </ac:spMkLst>
        </pc:spChg>
        <pc:spChg chg="mod">
          <ac:chgData name="Elgee, Jeffrey (SPAC/PSPC)" userId="e10f0e9c-c03f-4fde-9113-11216b420c44" providerId="ADAL" clId="{8A22DB22-CE08-4237-BAFA-661B83772496}" dt="2024-06-05T18:33:18.979" v="25" actId="571"/>
          <ac:spMkLst>
            <pc:docMk/>
            <pc:sldMk cId="3194185217" sldId="5000"/>
            <ac:spMk id="98" creationId="{ADAB80AC-6DD5-8EE6-B759-3EA42BF3ACFD}"/>
          </ac:spMkLst>
        </pc:spChg>
        <pc:spChg chg="mod">
          <ac:chgData name="Elgee, Jeffrey (SPAC/PSPC)" userId="e10f0e9c-c03f-4fde-9113-11216b420c44" providerId="ADAL" clId="{8A22DB22-CE08-4237-BAFA-661B83772496}" dt="2024-06-05T18:33:18.979" v="25" actId="571"/>
          <ac:spMkLst>
            <pc:docMk/>
            <pc:sldMk cId="3194185217" sldId="5000"/>
            <ac:spMk id="99" creationId="{389D62A2-FE11-DD73-317F-43A87E51B559}"/>
          </ac:spMkLst>
        </pc:spChg>
        <pc:spChg chg="mod">
          <ac:chgData name="Elgee, Jeffrey (SPAC/PSPC)" userId="e10f0e9c-c03f-4fde-9113-11216b420c44" providerId="ADAL" clId="{8A22DB22-CE08-4237-BAFA-661B83772496}" dt="2024-06-05T18:33:18.979" v="25" actId="571"/>
          <ac:spMkLst>
            <pc:docMk/>
            <pc:sldMk cId="3194185217" sldId="5000"/>
            <ac:spMk id="100" creationId="{D91AB6BE-C04A-6C05-113A-8ADF629FDD96}"/>
          </ac:spMkLst>
        </pc:spChg>
        <pc:spChg chg="mod">
          <ac:chgData name="Elgee, Jeffrey (SPAC/PSPC)" userId="e10f0e9c-c03f-4fde-9113-11216b420c44" providerId="ADAL" clId="{8A22DB22-CE08-4237-BAFA-661B83772496}" dt="2024-06-05T18:33:18.979" v="25" actId="571"/>
          <ac:spMkLst>
            <pc:docMk/>
            <pc:sldMk cId="3194185217" sldId="5000"/>
            <ac:spMk id="101" creationId="{D19B3D59-CE70-9AAF-5F4D-AD2B21591581}"/>
          </ac:spMkLst>
        </pc:spChg>
        <pc:spChg chg="mod">
          <ac:chgData name="Elgee, Jeffrey (SPAC/PSPC)" userId="e10f0e9c-c03f-4fde-9113-11216b420c44" providerId="ADAL" clId="{8A22DB22-CE08-4237-BAFA-661B83772496}" dt="2024-06-05T18:33:18.979" v="25" actId="571"/>
          <ac:spMkLst>
            <pc:docMk/>
            <pc:sldMk cId="3194185217" sldId="5000"/>
            <ac:spMk id="102" creationId="{5F15206B-AF40-C0D7-43C0-FCBF2BE3D662}"/>
          </ac:spMkLst>
        </pc:spChg>
        <pc:spChg chg="mod">
          <ac:chgData name="Elgee, Jeffrey (SPAC/PSPC)" userId="e10f0e9c-c03f-4fde-9113-11216b420c44" providerId="ADAL" clId="{8A22DB22-CE08-4237-BAFA-661B83772496}" dt="2024-06-05T18:33:18.979" v="25" actId="571"/>
          <ac:spMkLst>
            <pc:docMk/>
            <pc:sldMk cId="3194185217" sldId="5000"/>
            <ac:spMk id="103" creationId="{73BCBDA4-3439-52CC-0AC5-E9A1BA5136E5}"/>
          </ac:spMkLst>
        </pc:spChg>
        <pc:spChg chg="mod">
          <ac:chgData name="Elgee, Jeffrey (SPAC/PSPC)" userId="e10f0e9c-c03f-4fde-9113-11216b420c44" providerId="ADAL" clId="{8A22DB22-CE08-4237-BAFA-661B83772496}" dt="2024-06-05T18:33:18.979" v="25" actId="571"/>
          <ac:spMkLst>
            <pc:docMk/>
            <pc:sldMk cId="3194185217" sldId="5000"/>
            <ac:spMk id="104" creationId="{3F9EB8F3-DA5A-AF9B-C644-37D3658500E5}"/>
          </ac:spMkLst>
        </pc:spChg>
        <pc:spChg chg="mod">
          <ac:chgData name="Elgee, Jeffrey (SPAC/PSPC)" userId="e10f0e9c-c03f-4fde-9113-11216b420c44" providerId="ADAL" clId="{8A22DB22-CE08-4237-BAFA-661B83772496}" dt="2024-06-05T18:33:18.979" v="25" actId="571"/>
          <ac:spMkLst>
            <pc:docMk/>
            <pc:sldMk cId="3194185217" sldId="5000"/>
            <ac:spMk id="105" creationId="{8BF6627A-8472-6A0E-56EB-E1B3F5F10BD3}"/>
          </ac:spMkLst>
        </pc:spChg>
        <pc:spChg chg="mod">
          <ac:chgData name="Elgee, Jeffrey (SPAC/PSPC)" userId="e10f0e9c-c03f-4fde-9113-11216b420c44" providerId="ADAL" clId="{8A22DB22-CE08-4237-BAFA-661B83772496}" dt="2024-06-05T18:33:18.979" v="25" actId="571"/>
          <ac:spMkLst>
            <pc:docMk/>
            <pc:sldMk cId="3194185217" sldId="5000"/>
            <ac:spMk id="106" creationId="{5DD57F77-E0AF-D320-4623-3869B46E9703}"/>
          </ac:spMkLst>
        </pc:spChg>
        <pc:spChg chg="mod">
          <ac:chgData name="Elgee, Jeffrey (SPAC/PSPC)" userId="e10f0e9c-c03f-4fde-9113-11216b420c44" providerId="ADAL" clId="{8A22DB22-CE08-4237-BAFA-661B83772496}" dt="2024-06-05T18:33:18.979" v="25" actId="571"/>
          <ac:spMkLst>
            <pc:docMk/>
            <pc:sldMk cId="3194185217" sldId="5000"/>
            <ac:spMk id="107" creationId="{DDCD925C-ECC0-F97C-9306-C165B8EA96D1}"/>
          </ac:spMkLst>
        </pc:spChg>
        <pc:spChg chg="mod">
          <ac:chgData name="Elgee, Jeffrey (SPAC/PSPC)" userId="e10f0e9c-c03f-4fde-9113-11216b420c44" providerId="ADAL" clId="{8A22DB22-CE08-4237-BAFA-661B83772496}" dt="2024-06-05T18:33:18.979" v="25" actId="571"/>
          <ac:spMkLst>
            <pc:docMk/>
            <pc:sldMk cId="3194185217" sldId="5000"/>
            <ac:spMk id="108" creationId="{0E77B50D-F610-6699-DC7D-37A5BDDBAE68}"/>
          </ac:spMkLst>
        </pc:spChg>
        <pc:spChg chg="mod">
          <ac:chgData name="Elgee, Jeffrey (SPAC/PSPC)" userId="e10f0e9c-c03f-4fde-9113-11216b420c44" providerId="ADAL" clId="{8A22DB22-CE08-4237-BAFA-661B83772496}" dt="2024-06-05T18:37:55.348" v="43" actId="14100"/>
          <ac:spMkLst>
            <pc:docMk/>
            <pc:sldMk cId="3194185217" sldId="5000"/>
            <ac:spMk id="109" creationId="{8DC427F7-B6DC-88F8-B838-FFA6C60362CF}"/>
          </ac:spMkLst>
        </pc:spChg>
        <pc:spChg chg="add mod">
          <ac:chgData name="Elgee, Jeffrey (SPAC/PSPC)" userId="e10f0e9c-c03f-4fde-9113-11216b420c44" providerId="ADAL" clId="{8A22DB22-CE08-4237-BAFA-661B83772496}" dt="2024-06-05T18:32:13.357" v="14" actId="571"/>
          <ac:spMkLst>
            <pc:docMk/>
            <pc:sldMk cId="3194185217" sldId="5000"/>
            <ac:spMk id="217" creationId="{99EA2EC1-BB97-2C88-818B-1475703F6015}"/>
          </ac:spMkLst>
        </pc:spChg>
        <pc:spChg chg="add mod">
          <ac:chgData name="Elgee, Jeffrey (SPAC/PSPC)" userId="e10f0e9c-c03f-4fde-9113-11216b420c44" providerId="ADAL" clId="{8A22DB22-CE08-4237-BAFA-661B83772496}" dt="2024-06-05T18:32:13.357" v="14" actId="571"/>
          <ac:spMkLst>
            <pc:docMk/>
            <pc:sldMk cId="3194185217" sldId="5000"/>
            <ac:spMk id="218" creationId="{13FF909F-32FD-5F98-B859-417D52CE8E72}"/>
          </ac:spMkLst>
        </pc:spChg>
        <pc:spChg chg="add mod">
          <ac:chgData name="Elgee, Jeffrey (SPAC/PSPC)" userId="e10f0e9c-c03f-4fde-9113-11216b420c44" providerId="ADAL" clId="{8A22DB22-CE08-4237-BAFA-661B83772496}" dt="2024-06-05T18:32:13.357" v="14" actId="571"/>
          <ac:spMkLst>
            <pc:docMk/>
            <pc:sldMk cId="3194185217" sldId="5000"/>
            <ac:spMk id="219" creationId="{D09E03BE-5507-5815-E171-766403FDD677}"/>
          </ac:spMkLst>
        </pc:spChg>
        <pc:spChg chg="add mod">
          <ac:chgData name="Elgee, Jeffrey (SPAC/PSPC)" userId="e10f0e9c-c03f-4fde-9113-11216b420c44" providerId="ADAL" clId="{8A22DB22-CE08-4237-BAFA-661B83772496}" dt="2024-06-05T18:32:13.357" v="14" actId="571"/>
          <ac:spMkLst>
            <pc:docMk/>
            <pc:sldMk cId="3194185217" sldId="5000"/>
            <ac:spMk id="220" creationId="{86E2289E-3BA0-2858-9CD7-57FDCA0A9910}"/>
          </ac:spMkLst>
        </pc:spChg>
        <pc:spChg chg="add mod">
          <ac:chgData name="Elgee, Jeffrey (SPAC/PSPC)" userId="e10f0e9c-c03f-4fde-9113-11216b420c44" providerId="ADAL" clId="{8A22DB22-CE08-4237-BAFA-661B83772496}" dt="2024-06-05T18:32:13.357" v="14" actId="571"/>
          <ac:spMkLst>
            <pc:docMk/>
            <pc:sldMk cId="3194185217" sldId="5000"/>
            <ac:spMk id="221" creationId="{80E135DC-C0E1-1F93-8434-5C0EBD059C6A}"/>
          </ac:spMkLst>
        </pc:spChg>
        <pc:spChg chg="add mod">
          <ac:chgData name="Elgee, Jeffrey (SPAC/PSPC)" userId="e10f0e9c-c03f-4fde-9113-11216b420c44" providerId="ADAL" clId="{8A22DB22-CE08-4237-BAFA-661B83772496}" dt="2024-06-05T18:32:13.357" v="14" actId="571"/>
          <ac:spMkLst>
            <pc:docMk/>
            <pc:sldMk cId="3194185217" sldId="5000"/>
            <ac:spMk id="222" creationId="{FBF3455D-1E83-3BCA-E244-9D8301483CC4}"/>
          </ac:spMkLst>
        </pc:spChg>
        <pc:spChg chg="add mod">
          <ac:chgData name="Elgee, Jeffrey (SPAC/PSPC)" userId="e10f0e9c-c03f-4fde-9113-11216b420c44" providerId="ADAL" clId="{8A22DB22-CE08-4237-BAFA-661B83772496}" dt="2024-06-05T18:33:18.979" v="25" actId="571"/>
          <ac:spMkLst>
            <pc:docMk/>
            <pc:sldMk cId="3194185217" sldId="5000"/>
            <ac:spMk id="223" creationId="{BBC052F8-EF1B-D470-7A9B-B645D01A3F09}"/>
          </ac:spMkLst>
        </pc:spChg>
        <pc:spChg chg="add mod">
          <ac:chgData name="Elgee, Jeffrey (SPAC/PSPC)" userId="e10f0e9c-c03f-4fde-9113-11216b420c44" providerId="ADAL" clId="{8A22DB22-CE08-4237-BAFA-661B83772496}" dt="2024-06-05T18:33:18.979" v="25" actId="571"/>
          <ac:spMkLst>
            <pc:docMk/>
            <pc:sldMk cId="3194185217" sldId="5000"/>
            <ac:spMk id="224" creationId="{E28D3259-58B8-C57F-4EDE-4B458D6576FD}"/>
          </ac:spMkLst>
        </pc:spChg>
        <pc:spChg chg="add mod">
          <ac:chgData name="Elgee, Jeffrey (SPAC/PSPC)" userId="e10f0e9c-c03f-4fde-9113-11216b420c44" providerId="ADAL" clId="{8A22DB22-CE08-4237-BAFA-661B83772496}" dt="2024-06-05T18:33:18.979" v="25" actId="571"/>
          <ac:spMkLst>
            <pc:docMk/>
            <pc:sldMk cId="3194185217" sldId="5000"/>
            <ac:spMk id="225" creationId="{CCBAD9AC-D193-30FA-6A0C-9FD11B8A2857}"/>
          </ac:spMkLst>
        </pc:spChg>
        <pc:spChg chg="add mod">
          <ac:chgData name="Elgee, Jeffrey (SPAC/PSPC)" userId="e10f0e9c-c03f-4fde-9113-11216b420c44" providerId="ADAL" clId="{8A22DB22-CE08-4237-BAFA-661B83772496}" dt="2024-06-05T18:33:18.979" v="25" actId="571"/>
          <ac:spMkLst>
            <pc:docMk/>
            <pc:sldMk cId="3194185217" sldId="5000"/>
            <ac:spMk id="226" creationId="{82179108-C6DE-C38B-248E-1CD78539C462}"/>
          </ac:spMkLst>
        </pc:spChg>
        <pc:spChg chg="mod">
          <ac:chgData name="Elgee, Jeffrey (SPAC/PSPC)" userId="e10f0e9c-c03f-4fde-9113-11216b420c44" providerId="ADAL" clId="{8A22DB22-CE08-4237-BAFA-661B83772496}" dt="2024-06-05T19:12:40.589" v="92" actId="20577"/>
          <ac:spMkLst>
            <pc:docMk/>
            <pc:sldMk cId="3194185217" sldId="5000"/>
            <ac:spMk id="228" creationId="{2C5C7B4D-E0D3-2A6C-661D-EE6F09B9B0CD}"/>
          </ac:spMkLst>
        </pc:spChg>
        <pc:spChg chg="mod">
          <ac:chgData name="Elgee, Jeffrey (SPAC/PSPC)" userId="e10f0e9c-c03f-4fde-9113-11216b420c44" providerId="ADAL" clId="{8A22DB22-CE08-4237-BAFA-661B83772496}" dt="2024-06-05T19:11:56.509" v="77"/>
          <ac:spMkLst>
            <pc:docMk/>
            <pc:sldMk cId="3194185217" sldId="5000"/>
            <ac:spMk id="231" creationId="{6FBD3BC9-B2A2-779B-12B9-885937EE9E25}"/>
          </ac:spMkLst>
        </pc:spChg>
        <pc:spChg chg="mod">
          <ac:chgData name="Elgee, Jeffrey (SPAC/PSPC)" userId="e10f0e9c-c03f-4fde-9113-11216b420c44" providerId="ADAL" clId="{8A22DB22-CE08-4237-BAFA-661B83772496}" dt="2024-06-05T19:11:56.509" v="77"/>
          <ac:spMkLst>
            <pc:docMk/>
            <pc:sldMk cId="3194185217" sldId="5000"/>
            <ac:spMk id="232" creationId="{FF065F58-F2EC-0948-DEE7-13DEBE3A1792}"/>
          </ac:spMkLst>
        </pc:spChg>
        <pc:spChg chg="mod">
          <ac:chgData name="Elgee, Jeffrey (SPAC/PSPC)" userId="e10f0e9c-c03f-4fde-9113-11216b420c44" providerId="ADAL" clId="{8A22DB22-CE08-4237-BAFA-661B83772496}" dt="2024-06-05T19:11:56.509" v="77"/>
          <ac:spMkLst>
            <pc:docMk/>
            <pc:sldMk cId="3194185217" sldId="5000"/>
            <ac:spMk id="233" creationId="{4DB2FB09-DEBD-AFCE-699F-3C6EF9579BC7}"/>
          </ac:spMkLst>
        </pc:spChg>
        <pc:spChg chg="del mod">
          <ac:chgData name="Elgee, Jeffrey (SPAC/PSPC)" userId="e10f0e9c-c03f-4fde-9113-11216b420c44" providerId="ADAL" clId="{8A22DB22-CE08-4237-BAFA-661B83772496}" dt="2024-06-05T20:39:08.172" v="105" actId="478"/>
          <ac:spMkLst>
            <pc:docMk/>
            <pc:sldMk cId="3194185217" sldId="5000"/>
            <ac:spMk id="234" creationId="{FE63E28B-82BC-4A8E-0498-57B4AF27FEC3}"/>
          </ac:spMkLst>
        </pc:spChg>
        <pc:spChg chg="del mod">
          <ac:chgData name="Elgee, Jeffrey (SPAC/PSPC)" userId="e10f0e9c-c03f-4fde-9113-11216b420c44" providerId="ADAL" clId="{8A22DB22-CE08-4237-BAFA-661B83772496}" dt="2024-06-05T20:39:08.172" v="105" actId="478"/>
          <ac:spMkLst>
            <pc:docMk/>
            <pc:sldMk cId="3194185217" sldId="5000"/>
            <ac:spMk id="235" creationId="{55910E4A-762F-D699-2DE0-C90C775F5FE6}"/>
          </ac:spMkLst>
        </pc:spChg>
        <pc:spChg chg="del mod">
          <ac:chgData name="Elgee, Jeffrey (SPAC/PSPC)" userId="e10f0e9c-c03f-4fde-9113-11216b420c44" providerId="ADAL" clId="{8A22DB22-CE08-4237-BAFA-661B83772496}" dt="2024-06-05T20:39:08.172" v="105" actId="478"/>
          <ac:spMkLst>
            <pc:docMk/>
            <pc:sldMk cId="3194185217" sldId="5000"/>
            <ac:spMk id="236" creationId="{FF977502-34E2-F458-9B28-9AF3F24F08E8}"/>
          </ac:spMkLst>
        </pc:spChg>
        <pc:spChg chg="del mod">
          <ac:chgData name="Elgee, Jeffrey (SPAC/PSPC)" userId="e10f0e9c-c03f-4fde-9113-11216b420c44" providerId="ADAL" clId="{8A22DB22-CE08-4237-BAFA-661B83772496}" dt="2024-06-05T20:40:05.421" v="111" actId="478"/>
          <ac:spMkLst>
            <pc:docMk/>
            <pc:sldMk cId="3194185217" sldId="5000"/>
            <ac:spMk id="237" creationId="{FDA2061D-F7B8-69CA-4BE4-3610864E7DF2}"/>
          </ac:spMkLst>
        </pc:spChg>
        <pc:spChg chg="del mod">
          <ac:chgData name="Elgee, Jeffrey (SPAC/PSPC)" userId="e10f0e9c-c03f-4fde-9113-11216b420c44" providerId="ADAL" clId="{8A22DB22-CE08-4237-BAFA-661B83772496}" dt="2024-06-05T20:39:58.097" v="110" actId="478"/>
          <ac:spMkLst>
            <pc:docMk/>
            <pc:sldMk cId="3194185217" sldId="5000"/>
            <ac:spMk id="238" creationId="{AB75D914-B323-5020-2CEB-C5F6BDEB82ED}"/>
          </ac:spMkLst>
        </pc:spChg>
        <pc:spChg chg="del mod">
          <ac:chgData name="Elgee, Jeffrey (SPAC/PSPC)" userId="e10f0e9c-c03f-4fde-9113-11216b420c44" providerId="ADAL" clId="{8A22DB22-CE08-4237-BAFA-661B83772496}" dt="2024-06-05T20:39:33.361" v="106" actId="478"/>
          <ac:spMkLst>
            <pc:docMk/>
            <pc:sldMk cId="3194185217" sldId="5000"/>
            <ac:spMk id="239" creationId="{A0710CC4-E0AF-CDFC-0E22-3A1ABFB2F146}"/>
          </ac:spMkLst>
        </pc:spChg>
        <pc:spChg chg="del mod">
          <ac:chgData name="Elgee, Jeffrey (SPAC/PSPC)" userId="e10f0e9c-c03f-4fde-9113-11216b420c44" providerId="ADAL" clId="{8A22DB22-CE08-4237-BAFA-661B83772496}" dt="2024-06-05T20:39:33.361" v="106" actId="478"/>
          <ac:spMkLst>
            <pc:docMk/>
            <pc:sldMk cId="3194185217" sldId="5000"/>
            <ac:spMk id="240" creationId="{C95A2EE8-CB68-1BCE-761A-E722142C13C9}"/>
          </ac:spMkLst>
        </pc:spChg>
        <pc:spChg chg="del mod">
          <ac:chgData name="Elgee, Jeffrey (SPAC/PSPC)" userId="e10f0e9c-c03f-4fde-9113-11216b420c44" providerId="ADAL" clId="{8A22DB22-CE08-4237-BAFA-661B83772496}" dt="2024-06-05T20:39:33.361" v="106" actId="478"/>
          <ac:spMkLst>
            <pc:docMk/>
            <pc:sldMk cId="3194185217" sldId="5000"/>
            <ac:spMk id="241" creationId="{8C194FB7-9F52-E3EE-7676-17DCDB04AE55}"/>
          </ac:spMkLst>
        </pc:spChg>
        <pc:spChg chg="del mod">
          <ac:chgData name="Elgee, Jeffrey (SPAC/PSPC)" userId="e10f0e9c-c03f-4fde-9113-11216b420c44" providerId="ADAL" clId="{8A22DB22-CE08-4237-BAFA-661B83772496}" dt="2024-06-05T20:39:33.361" v="106" actId="478"/>
          <ac:spMkLst>
            <pc:docMk/>
            <pc:sldMk cId="3194185217" sldId="5000"/>
            <ac:spMk id="242" creationId="{59C71B78-78CB-21FE-BECC-C8E5A4DAD241}"/>
          </ac:spMkLst>
        </pc:spChg>
        <pc:spChg chg="del mod">
          <ac:chgData name="Elgee, Jeffrey (SPAC/PSPC)" userId="e10f0e9c-c03f-4fde-9113-11216b420c44" providerId="ADAL" clId="{8A22DB22-CE08-4237-BAFA-661B83772496}" dt="2024-06-05T20:39:33.361" v="106" actId="478"/>
          <ac:spMkLst>
            <pc:docMk/>
            <pc:sldMk cId="3194185217" sldId="5000"/>
            <ac:spMk id="243" creationId="{A9DABC0A-E359-A5EE-1B11-87E822FCBA40}"/>
          </ac:spMkLst>
        </pc:spChg>
        <pc:spChg chg="del mod">
          <ac:chgData name="Elgee, Jeffrey (SPAC/PSPC)" userId="e10f0e9c-c03f-4fde-9113-11216b420c44" providerId="ADAL" clId="{8A22DB22-CE08-4237-BAFA-661B83772496}" dt="2024-06-05T20:39:49.037" v="107" actId="478"/>
          <ac:spMkLst>
            <pc:docMk/>
            <pc:sldMk cId="3194185217" sldId="5000"/>
            <ac:spMk id="244" creationId="{82C1042D-4A74-A6F2-37D0-AB5E94D9DF87}"/>
          </ac:spMkLst>
        </pc:spChg>
        <pc:spChg chg="del mod">
          <ac:chgData name="Elgee, Jeffrey (SPAC/PSPC)" userId="e10f0e9c-c03f-4fde-9113-11216b420c44" providerId="ADAL" clId="{8A22DB22-CE08-4237-BAFA-661B83772496}" dt="2024-06-05T20:39:49.037" v="107" actId="478"/>
          <ac:spMkLst>
            <pc:docMk/>
            <pc:sldMk cId="3194185217" sldId="5000"/>
            <ac:spMk id="245" creationId="{FF9848DA-E03E-AFA3-4D98-25FCEB329B54}"/>
          </ac:spMkLst>
        </pc:spChg>
        <pc:spChg chg="del mod">
          <ac:chgData name="Elgee, Jeffrey (SPAC/PSPC)" userId="e10f0e9c-c03f-4fde-9113-11216b420c44" providerId="ADAL" clId="{8A22DB22-CE08-4237-BAFA-661B83772496}" dt="2024-06-05T20:39:49.037" v="107" actId="478"/>
          <ac:spMkLst>
            <pc:docMk/>
            <pc:sldMk cId="3194185217" sldId="5000"/>
            <ac:spMk id="246" creationId="{9FAB45F5-2430-C1BE-9545-09B72FADD865}"/>
          </ac:spMkLst>
        </pc:spChg>
        <pc:spChg chg="del mod">
          <ac:chgData name="Elgee, Jeffrey (SPAC/PSPC)" userId="e10f0e9c-c03f-4fde-9113-11216b420c44" providerId="ADAL" clId="{8A22DB22-CE08-4237-BAFA-661B83772496}" dt="2024-06-05T20:39:56.185" v="109" actId="478"/>
          <ac:spMkLst>
            <pc:docMk/>
            <pc:sldMk cId="3194185217" sldId="5000"/>
            <ac:spMk id="247" creationId="{6D3EBD79-AC94-B39D-21DA-1DB8B29A4CE4}"/>
          </ac:spMkLst>
        </pc:spChg>
        <pc:spChg chg="del mod">
          <ac:chgData name="Elgee, Jeffrey (SPAC/PSPC)" userId="e10f0e9c-c03f-4fde-9113-11216b420c44" providerId="ADAL" clId="{8A22DB22-CE08-4237-BAFA-661B83772496}" dt="2024-06-05T20:39:53.985" v="108" actId="478"/>
          <ac:spMkLst>
            <pc:docMk/>
            <pc:sldMk cId="3194185217" sldId="5000"/>
            <ac:spMk id="248" creationId="{BB279B71-C29A-77B4-D5B5-3371EFEC7F1C}"/>
          </ac:spMkLst>
        </pc:spChg>
        <pc:spChg chg="del mod">
          <ac:chgData name="Elgee, Jeffrey (SPAC/PSPC)" userId="e10f0e9c-c03f-4fde-9113-11216b420c44" providerId="ADAL" clId="{8A22DB22-CE08-4237-BAFA-661B83772496}" dt="2024-06-05T20:39:49.037" v="107" actId="478"/>
          <ac:spMkLst>
            <pc:docMk/>
            <pc:sldMk cId="3194185217" sldId="5000"/>
            <ac:spMk id="249" creationId="{6A64C2D4-EDC7-2747-70BF-6D8040EFCB67}"/>
          </ac:spMkLst>
        </pc:spChg>
        <pc:spChg chg="del mod">
          <ac:chgData name="Elgee, Jeffrey (SPAC/PSPC)" userId="e10f0e9c-c03f-4fde-9113-11216b420c44" providerId="ADAL" clId="{8A22DB22-CE08-4237-BAFA-661B83772496}" dt="2024-06-05T20:39:49.037" v="107" actId="478"/>
          <ac:spMkLst>
            <pc:docMk/>
            <pc:sldMk cId="3194185217" sldId="5000"/>
            <ac:spMk id="250" creationId="{64659E4C-ECE6-A12A-3F4E-2CDDABD40012}"/>
          </ac:spMkLst>
        </pc:spChg>
        <pc:spChg chg="del mod">
          <ac:chgData name="Elgee, Jeffrey (SPAC/PSPC)" userId="e10f0e9c-c03f-4fde-9113-11216b420c44" providerId="ADAL" clId="{8A22DB22-CE08-4237-BAFA-661B83772496}" dt="2024-06-05T20:39:08.172" v="105" actId="478"/>
          <ac:spMkLst>
            <pc:docMk/>
            <pc:sldMk cId="3194185217" sldId="5000"/>
            <ac:spMk id="251" creationId="{73C8AFBE-9B47-FEAC-29FD-415F361829A6}"/>
          </ac:spMkLst>
        </pc:spChg>
        <pc:spChg chg="del mod">
          <ac:chgData name="Elgee, Jeffrey (SPAC/PSPC)" userId="e10f0e9c-c03f-4fde-9113-11216b420c44" providerId="ADAL" clId="{8A22DB22-CE08-4237-BAFA-661B83772496}" dt="2024-06-05T20:39:49.037" v="107" actId="478"/>
          <ac:spMkLst>
            <pc:docMk/>
            <pc:sldMk cId="3194185217" sldId="5000"/>
            <ac:spMk id="252" creationId="{349F690C-C6AD-740E-7E9D-07200C0FF371}"/>
          </ac:spMkLst>
        </pc:spChg>
        <pc:spChg chg="del mod">
          <ac:chgData name="Elgee, Jeffrey (SPAC/PSPC)" userId="e10f0e9c-c03f-4fde-9113-11216b420c44" providerId="ADAL" clId="{8A22DB22-CE08-4237-BAFA-661B83772496}" dt="2024-06-05T20:39:49.037" v="107" actId="478"/>
          <ac:spMkLst>
            <pc:docMk/>
            <pc:sldMk cId="3194185217" sldId="5000"/>
            <ac:spMk id="253" creationId="{6906FDE3-6B2B-1D96-CE10-F9F8248A63FB}"/>
          </ac:spMkLst>
        </pc:spChg>
        <pc:spChg chg="del mod">
          <ac:chgData name="Elgee, Jeffrey (SPAC/PSPC)" userId="e10f0e9c-c03f-4fde-9113-11216b420c44" providerId="ADAL" clId="{8A22DB22-CE08-4237-BAFA-661B83772496}" dt="2024-06-05T20:39:33.361" v="106" actId="478"/>
          <ac:spMkLst>
            <pc:docMk/>
            <pc:sldMk cId="3194185217" sldId="5000"/>
            <ac:spMk id="254" creationId="{C8D46164-8A75-9280-997D-16318DB4B75B}"/>
          </ac:spMkLst>
        </pc:spChg>
        <pc:spChg chg="del mod">
          <ac:chgData name="Elgee, Jeffrey (SPAC/PSPC)" userId="e10f0e9c-c03f-4fde-9113-11216b420c44" providerId="ADAL" clId="{8A22DB22-CE08-4237-BAFA-661B83772496}" dt="2024-06-05T20:39:33.361" v="106" actId="478"/>
          <ac:spMkLst>
            <pc:docMk/>
            <pc:sldMk cId="3194185217" sldId="5000"/>
            <ac:spMk id="255" creationId="{5D35C939-558E-48F2-AC90-A5230BE8B87D}"/>
          </ac:spMkLst>
        </pc:spChg>
        <pc:spChg chg="del mod">
          <ac:chgData name="Elgee, Jeffrey (SPAC/PSPC)" userId="e10f0e9c-c03f-4fde-9113-11216b420c44" providerId="ADAL" clId="{8A22DB22-CE08-4237-BAFA-661B83772496}" dt="2024-06-05T20:39:33.361" v="106" actId="478"/>
          <ac:spMkLst>
            <pc:docMk/>
            <pc:sldMk cId="3194185217" sldId="5000"/>
            <ac:spMk id="256" creationId="{3BAAE381-D05E-6702-D2B6-5DE41E147AA4}"/>
          </ac:spMkLst>
        </pc:spChg>
        <pc:spChg chg="del mod">
          <ac:chgData name="Elgee, Jeffrey (SPAC/PSPC)" userId="e10f0e9c-c03f-4fde-9113-11216b420c44" providerId="ADAL" clId="{8A22DB22-CE08-4237-BAFA-661B83772496}" dt="2024-06-05T20:39:33.361" v="106" actId="478"/>
          <ac:spMkLst>
            <pc:docMk/>
            <pc:sldMk cId="3194185217" sldId="5000"/>
            <ac:spMk id="257" creationId="{36B2BC54-C26C-A3A9-22B7-BCCC17D2B817}"/>
          </ac:spMkLst>
        </pc:spChg>
        <pc:spChg chg="del mod">
          <ac:chgData name="Elgee, Jeffrey (SPAC/PSPC)" userId="e10f0e9c-c03f-4fde-9113-11216b420c44" providerId="ADAL" clId="{8A22DB22-CE08-4237-BAFA-661B83772496}" dt="2024-06-05T20:39:33.361" v="106" actId="478"/>
          <ac:spMkLst>
            <pc:docMk/>
            <pc:sldMk cId="3194185217" sldId="5000"/>
            <ac:spMk id="258" creationId="{A3333804-1635-40DE-ECD5-964FDD676641}"/>
          </ac:spMkLst>
        </pc:spChg>
        <pc:spChg chg="del mod">
          <ac:chgData name="Elgee, Jeffrey (SPAC/PSPC)" userId="e10f0e9c-c03f-4fde-9113-11216b420c44" providerId="ADAL" clId="{8A22DB22-CE08-4237-BAFA-661B83772496}" dt="2024-06-05T20:39:33.361" v="106" actId="478"/>
          <ac:spMkLst>
            <pc:docMk/>
            <pc:sldMk cId="3194185217" sldId="5000"/>
            <ac:spMk id="259" creationId="{87E18FCA-22AA-9659-B33A-1905FDDE40B9}"/>
          </ac:spMkLst>
        </pc:spChg>
        <pc:spChg chg="del mod">
          <ac:chgData name="Elgee, Jeffrey (SPAC/PSPC)" userId="e10f0e9c-c03f-4fde-9113-11216b420c44" providerId="ADAL" clId="{8A22DB22-CE08-4237-BAFA-661B83772496}" dt="2024-06-05T20:39:33.361" v="106" actId="478"/>
          <ac:spMkLst>
            <pc:docMk/>
            <pc:sldMk cId="3194185217" sldId="5000"/>
            <ac:spMk id="260" creationId="{1638795A-3ABF-4A23-185D-2E9B22C78F17}"/>
          </ac:spMkLst>
        </pc:spChg>
        <pc:spChg chg="mod">
          <ac:chgData name="Elgee, Jeffrey (SPAC/PSPC)" userId="e10f0e9c-c03f-4fde-9113-11216b420c44" providerId="ADAL" clId="{8A22DB22-CE08-4237-BAFA-661B83772496}" dt="2024-06-05T19:11:56.509" v="77"/>
          <ac:spMkLst>
            <pc:docMk/>
            <pc:sldMk cId="3194185217" sldId="5000"/>
            <ac:spMk id="263" creationId="{D73D1805-F830-5576-8486-46AF09F304F0}"/>
          </ac:spMkLst>
        </pc:spChg>
        <pc:spChg chg="mod">
          <ac:chgData name="Elgee, Jeffrey (SPAC/PSPC)" userId="e10f0e9c-c03f-4fde-9113-11216b420c44" providerId="ADAL" clId="{8A22DB22-CE08-4237-BAFA-661B83772496}" dt="2024-06-05T19:11:56.509" v="77"/>
          <ac:spMkLst>
            <pc:docMk/>
            <pc:sldMk cId="3194185217" sldId="5000"/>
            <ac:spMk id="265" creationId="{1A767E50-0F77-BF9A-2448-3A320B5D26AF}"/>
          </ac:spMkLst>
        </pc:spChg>
        <pc:spChg chg="mod">
          <ac:chgData name="Elgee, Jeffrey (SPAC/PSPC)" userId="e10f0e9c-c03f-4fde-9113-11216b420c44" providerId="ADAL" clId="{8A22DB22-CE08-4237-BAFA-661B83772496}" dt="2024-06-05T19:11:56.509" v="77"/>
          <ac:spMkLst>
            <pc:docMk/>
            <pc:sldMk cId="3194185217" sldId="5000"/>
            <ac:spMk id="266" creationId="{17AFEB20-076E-A228-3226-D82B48759F71}"/>
          </ac:spMkLst>
        </pc:spChg>
        <pc:spChg chg="mod">
          <ac:chgData name="Elgee, Jeffrey (SPAC/PSPC)" userId="e10f0e9c-c03f-4fde-9113-11216b420c44" providerId="ADAL" clId="{8A22DB22-CE08-4237-BAFA-661B83772496}" dt="2024-06-05T19:11:56.509" v="77"/>
          <ac:spMkLst>
            <pc:docMk/>
            <pc:sldMk cId="3194185217" sldId="5000"/>
            <ac:spMk id="268" creationId="{258B65CB-D247-F9E1-EDCA-FEA6F66FE970}"/>
          </ac:spMkLst>
        </pc:spChg>
        <pc:spChg chg="mod">
          <ac:chgData name="Elgee, Jeffrey (SPAC/PSPC)" userId="e10f0e9c-c03f-4fde-9113-11216b420c44" providerId="ADAL" clId="{8A22DB22-CE08-4237-BAFA-661B83772496}" dt="2024-06-05T19:11:56.509" v="77"/>
          <ac:spMkLst>
            <pc:docMk/>
            <pc:sldMk cId="3194185217" sldId="5000"/>
            <ac:spMk id="269" creationId="{531B218B-C9A8-F848-9B87-8D658B87F433}"/>
          </ac:spMkLst>
        </pc:spChg>
        <pc:spChg chg="mod">
          <ac:chgData name="Elgee, Jeffrey (SPAC/PSPC)" userId="e10f0e9c-c03f-4fde-9113-11216b420c44" providerId="ADAL" clId="{8A22DB22-CE08-4237-BAFA-661B83772496}" dt="2024-06-05T19:18:32.257" v="95" actId="207"/>
          <ac:spMkLst>
            <pc:docMk/>
            <pc:sldMk cId="3194185217" sldId="5000"/>
            <ac:spMk id="270" creationId="{0BB0B903-0398-1747-E909-63479AA91B94}"/>
          </ac:spMkLst>
        </pc:spChg>
        <pc:spChg chg="mod">
          <ac:chgData name="Elgee, Jeffrey (SPAC/PSPC)" userId="e10f0e9c-c03f-4fde-9113-11216b420c44" providerId="ADAL" clId="{8A22DB22-CE08-4237-BAFA-661B83772496}" dt="2024-06-05T19:11:56.509" v="77"/>
          <ac:spMkLst>
            <pc:docMk/>
            <pc:sldMk cId="3194185217" sldId="5000"/>
            <ac:spMk id="271" creationId="{C1E84DF3-872F-A72C-5659-01A7AD938776}"/>
          </ac:spMkLst>
        </pc:spChg>
        <pc:spChg chg="mod">
          <ac:chgData name="Elgee, Jeffrey (SPAC/PSPC)" userId="e10f0e9c-c03f-4fde-9113-11216b420c44" providerId="ADAL" clId="{8A22DB22-CE08-4237-BAFA-661B83772496}" dt="2024-06-05T19:11:56.509" v="77"/>
          <ac:spMkLst>
            <pc:docMk/>
            <pc:sldMk cId="3194185217" sldId="5000"/>
            <ac:spMk id="272" creationId="{239C2953-20ED-42D4-85A3-0A74D4A3BA40}"/>
          </ac:spMkLst>
        </pc:spChg>
        <pc:spChg chg="mod">
          <ac:chgData name="Elgee, Jeffrey (SPAC/PSPC)" userId="e10f0e9c-c03f-4fde-9113-11216b420c44" providerId="ADAL" clId="{8A22DB22-CE08-4237-BAFA-661B83772496}" dt="2024-06-05T19:11:56.509" v="77"/>
          <ac:spMkLst>
            <pc:docMk/>
            <pc:sldMk cId="3194185217" sldId="5000"/>
            <ac:spMk id="273" creationId="{325B3BC7-41BB-12FE-D668-CB00D156F1F8}"/>
          </ac:spMkLst>
        </pc:spChg>
        <pc:spChg chg="mod">
          <ac:chgData name="Elgee, Jeffrey (SPAC/PSPC)" userId="e10f0e9c-c03f-4fde-9113-11216b420c44" providerId="ADAL" clId="{8A22DB22-CE08-4237-BAFA-661B83772496}" dt="2024-06-05T19:18:40.562" v="97" actId="207"/>
          <ac:spMkLst>
            <pc:docMk/>
            <pc:sldMk cId="3194185217" sldId="5000"/>
            <ac:spMk id="274" creationId="{FD23ED44-65FB-0912-3705-68931A2ECAE1}"/>
          </ac:spMkLst>
        </pc:spChg>
        <pc:spChg chg="mod">
          <ac:chgData name="Elgee, Jeffrey (SPAC/PSPC)" userId="e10f0e9c-c03f-4fde-9113-11216b420c44" providerId="ADAL" clId="{8A22DB22-CE08-4237-BAFA-661B83772496}" dt="2024-06-05T19:11:56.509" v="77"/>
          <ac:spMkLst>
            <pc:docMk/>
            <pc:sldMk cId="3194185217" sldId="5000"/>
            <ac:spMk id="275" creationId="{4E8101E7-3FC2-1CFD-0CD0-1F258075DD63}"/>
          </ac:spMkLst>
        </pc:spChg>
        <pc:spChg chg="mod">
          <ac:chgData name="Elgee, Jeffrey (SPAC/PSPC)" userId="e10f0e9c-c03f-4fde-9113-11216b420c44" providerId="ADAL" clId="{8A22DB22-CE08-4237-BAFA-661B83772496}" dt="2024-06-05T19:18:48.088" v="98" actId="207"/>
          <ac:spMkLst>
            <pc:docMk/>
            <pc:sldMk cId="3194185217" sldId="5000"/>
            <ac:spMk id="276" creationId="{BC3DA3B1-43F3-64FD-7B81-6C468CEEDCD1}"/>
          </ac:spMkLst>
        </pc:spChg>
        <pc:spChg chg="mod">
          <ac:chgData name="Elgee, Jeffrey (SPAC/PSPC)" userId="e10f0e9c-c03f-4fde-9113-11216b420c44" providerId="ADAL" clId="{8A22DB22-CE08-4237-BAFA-661B83772496}" dt="2024-06-05T19:11:56.509" v="77"/>
          <ac:spMkLst>
            <pc:docMk/>
            <pc:sldMk cId="3194185217" sldId="5000"/>
            <ac:spMk id="277" creationId="{7B97C51C-869D-F58B-42FA-0383319230BA}"/>
          </ac:spMkLst>
        </pc:spChg>
        <pc:spChg chg="mod">
          <ac:chgData name="Elgee, Jeffrey (SPAC/PSPC)" userId="e10f0e9c-c03f-4fde-9113-11216b420c44" providerId="ADAL" clId="{8A22DB22-CE08-4237-BAFA-661B83772496}" dt="2024-06-05T19:18:37.229" v="96" actId="207"/>
          <ac:spMkLst>
            <pc:docMk/>
            <pc:sldMk cId="3194185217" sldId="5000"/>
            <ac:spMk id="278" creationId="{F42202AE-E304-7016-92B5-EF7B1A3B4262}"/>
          </ac:spMkLst>
        </pc:spChg>
        <pc:spChg chg="mod">
          <ac:chgData name="Elgee, Jeffrey (SPAC/PSPC)" userId="e10f0e9c-c03f-4fde-9113-11216b420c44" providerId="ADAL" clId="{8A22DB22-CE08-4237-BAFA-661B83772496}" dt="2024-06-05T19:19:02.050" v="99" actId="207"/>
          <ac:spMkLst>
            <pc:docMk/>
            <pc:sldMk cId="3194185217" sldId="5000"/>
            <ac:spMk id="279" creationId="{73A0909A-ED2B-C87B-7CF6-71EDAD8CFF93}"/>
          </ac:spMkLst>
        </pc:spChg>
        <pc:spChg chg="mod">
          <ac:chgData name="Elgee, Jeffrey (SPAC/PSPC)" userId="e10f0e9c-c03f-4fde-9113-11216b420c44" providerId="ADAL" clId="{8A22DB22-CE08-4237-BAFA-661B83772496}" dt="2024-06-05T19:11:56.509" v="77"/>
          <ac:spMkLst>
            <pc:docMk/>
            <pc:sldMk cId="3194185217" sldId="5000"/>
            <ac:spMk id="280" creationId="{7EADF11C-EDAB-EEDF-BA45-B538D967C5FE}"/>
          </ac:spMkLst>
        </pc:spChg>
        <pc:spChg chg="mod">
          <ac:chgData name="Elgee, Jeffrey (SPAC/PSPC)" userId="e10f0e9c-c03f-4fde-9113-11216b420c44" providerId="ADAL" clId="{8A22DB22-CE08-4237-BAFA-661B83772496}" dt="2024-06-05T19:11:56.509" v="77"/>
          <ac:spMkLst>
            <pc:docMk/>
            <pc:sldMk cId="3194185217" sldId="5000"/>
            <ac:spMk id="281" creationId="{129B6DB9-4AD5-62E3-9639-5DA217C6F243}"/>
          </ac:spMkLst>
        </pc:spChg>
        <pc:spChg chg="mod">
          <ac:chgData name="Elgee, Jeffrey (SPAC/PSPC)" userId="e10f0e9c-c03f-4fde-9113-11216b420c44" providerId="ADAL" clId="{8A22DB22-CE08-4237-BAFA-661B83772496}" dt="2024-06-05T19:11:56.509" v="77"/>
          <ac:spMkLst>
            <pc:docMk/>
            <pc:sldMk cId="3194185217" sldId="5000"/>
            <ac:spMk id="282" creationId="{C06F4A97-7C7F-038E-35B2-2F180B5F2728}"/>
          </ac:spMkLst>
        </pc:spChg>
        <pc:spChg chg="mod">
          <ac:chgData name="Elgee, Jeffrey (SPAC/PSPC)" userId="e10f0e9c-c03f-4fde-9113-11216b420c44" providerId="ADAL" clId="{8A22DB22-CE08-4237-BAFA-661B83772496}" dt="2024-06-05T19:11:56.509" v="77"/>
          <ac:spMkLst>
            <pc:docMk/>
            <pc:sldMk cId="3194185217" sldId="5000"/>
            <ac:spMk id="283" creationId="{E49B93A2-878E-9FD3-DB7F-A50CC5A08780}"/>
          </ac:spMkLst>
        </pc:spChg>
        <pc:spChg chg="mod">
          <ac:chgData name="Elgee, Jeffrey (SPAC/PSPC)" userId="e10f0e9c-c03f-4fde-9113-11216b420c44" providerId="ADAL" clId="{8A22DB22-CE08-4237-BAFA-661B83772496}" dt="2024-06-05T19:14:13.989" v="93" actId="207"/>
          <ac:spMkLst>
            <pc:docMk/>
            <pc:sldMk cId="3194185217" sldId="5000"/>
            <ac:spMk id="284" creationId="{E7E32919-A3D2-371F-02E9-51C95F5DD416}"/>
          </ac:spMkLst>
        </pc:spChg>
        <pc:spChg chg="mod">
          <ac:chgData name="Elgee, Jeffrey (SPAC/PSPC)" userId="e10f0e9c-c03f-4fde-9113-11216b420c44" providerId="ADAL" clId="{8A22DB22-CE08-4237-BAFA-661B83772496}" dt="2024-06-05T19:14:13.989" v="93" actId="207"/>
          <ac:spMkLst>
            <pc:docMk/>
            <pc:sldMk cId="3194185217" sldId="5000"/>
            <ac:spMk id="285" creationId="{16404AA8-FF8E-40B6-4022-A3C090A23FA9}"/>
          </ac:spMkLst>
        </pc:spChg>
        <pc:spChg chg="mod">
          <ac:chgData name="Elgee, Jeffrey (SPAC/PSPC)" userId="e10f0e9c-c03f-4fde-9113-11216b420c44" providerId="ADAL" clId="{8A22DB22-CE08-4237-BAFA-661B83772496}" dt="2024-06-05T19:14:13.989" v="93" actId="207"/>
          <ac:spMkLst>
            <pc:docMk/>
            <pc:sldMk cId="3194185217" sldId="5000"/>
            <ac:spMk id="286" creationId="{96729DA1-3915-A587-C4E7-7739DEE662F1}"/>
          </ac:spMkLst>
        </pc:spChg>
        <pc:spChg chg="mod">
          <ac:chgData name="Elgee, Jeffrey (SPAC/PSPC)" userId="e10f0e9c-c03f-4fde-9113-11216b420c44" providerId="ADAL" clId="{8A22DB22-CE08-4237-BAFA-661B83772496}" dt="2024-06-05T19:11:56.509" v="77"/>
          <ac:spMkLst>
            <pc:docMk/>
            <pc:sldMk cId="3194185217" sldId="5000"/>
            <ac:spMk id="287" creationId="{A4513DF9-FEE8-B0EE-C49A-16CCE8083760}"/>
          </ac:spMkLst>
        </pc:spChg>
        <pc:spChg chg="mod">
          <ac:chgData name="Elgee, Jeffrey (SPAC/PSPC)" userId="e10f0e9c-c03f-4fde-9113-11216b420c44" providerId="ADAL" clId="{8A22DB22-CE08-4237-BAFA-661B83772496}" dt="2024-06-05T19:11:56.509" v="77"/>
          <ac:spMkLst>
            <pc:docMk/>
            <pc:sldMk cId="3194185217" sldId="5000"/>
            <ac:spMk id="288" creationId="{1274EF2F-97C7-FD01-3B52-F78BAA6F44F3}"/>
          </ac:spMkLst>
        </pc:spChg>
        <pc:spChg chg="mod">
          <ac:chgData name="Elgee, Jeffrey (SPAC/PSPC)" userId="e10f0e9c-c03f-4fde-9113-11216b420c44" providerId="ADAL" clId="{8A22DB22-CE08-4237-BAFA-661B83772496}" dt="2024-06-05T19:11:56.509" v="77"/>
          <ac:spMkLst>
            <pc:docMk/>
            <pc:sldMk cId="3194185217" sldId="5000"/>
            <ac:spMk id="289" creationId="{4221D947-470C-5A88-4D50-4833A5B70890}"/>
          </ac:spMkLst>
        </pc:spChg>
        <pc:spChg chg="mod">
          <ac:chgData name="Elgee, Jeffrey (SPAC/PSPC)" userId="e10f0e9c-c03f-4fde-9113-11216b420c44" providerId="ADAL" clId="{8A22DB22-CE08-4237-BAFA-661B83772496}" dt="2024-06-05T19:19:05.707" v="100" actId="207"/>
          <ac:spMkLst>
            <pc:docMk/>
            <pc:sldMk cId="3194185217" sldId="5000"/>
            <ac:spMk id="290" creationId="{3677BDF7-7497-A3AA-B43C-BDC81649F70B}"/>
          </ac:spMkLst>
        </pc:spChg>
        <pc:spChg chg="mod">
          <ac:chgData name="Elgee, Jeffrey (SPAC/PSPC)" userId="e10f0e9c-c03f-4fde-9113-11216b420c44" providerId="ADAL" clId="{8A22DB22-CE08-4237-BAFA-661B83772496}" dt="2024-06-05T19:19:09.708" v="101" actId="207"/>
          <ac:spMkLst>
            <pc:docMk/>
            <pc:sldMk cId="3194185217" sldId="5000"/>
            <ac:spMk id="291" creationId="{3720CD43-0D89-998D-0225-4FEC2C93EA5E}"/>
          </ac:spMkLst>
        </pc:spChg>
        <pc:spChg chg="mod">
          <ac:chgData name="Elgee, Jeffrey (SPAC/PSPC)" userId="e10f0e9c-c03f-4fde-9113-11216b420c44" providerId="ADAL" clId="{8A22DB22-CE08-4237-BAFA-661B83772496}" dt="2024-06-05T19:11:56.509" v="77"/>
          <ac:spMkLst>
            <pc:docMk/>
            <pc:sldMk cId="3194185217" sldId="5000"/>
            <ac:spMk id="292" creationId="{A4F493CE-E510-AF43-0BB4-F73F9E0E5863}"/>
          </ac:spMkLst>
        </pc:spChg>
        <pc:spChg chg="mod">
          <ac:chgData name="Elgee, Jeffrey (SPAC/PSPC)" userId="e10f0e9c-c03f-4fde-9113-11216b420c44" providerId="ADAL" clId="{8A22DB22-CE08-4237-BAFA-661B83772496}" dt="2024-06-05T19:14:13.989" v="93" actId="207"/>
          <ac:spMkLst>
            <pc:docMk/>
            <pc:sldMk cId="3194185217" sldId="5000"/>
            <ac:spMk id="293" creationId="{A036B082-257B-D590-20A8-A38E4C380989}"/>
          </ac:spMkLst>
        </pc:spChg>
        <pc:spChg chg="mod">
          <ac:chgData name="Elgee, Jeffrey (SPAC/PSPC)" userId="e10f0e9c-c03f-4fde-9113-11216b420c44" providerId="ADAL" clId="{8A22DB22-CE08-4237-BAFA-661B83772496}" dt="2024-06-05T19:19:13.052" v="102" actId="207"/>
          <ac:spMkLst>
            <pc:docMk/>
            <pc:sldMk cId="3194185217" sldId="5000"/>
            <ac:spMk id="294" creationId="{AD1B518F-B0B9-84B8-C30B-01BABACDC3D1}"/>
          </ac:spMkLst>
        </pc:spChg>
        <pc:spChg chg="mod">
          <ac:chgData name="Elgee, Jeffrey (SPAC/PSPC)" userId="e10f0e9c-c03f-4fde-9113-11216b420c44" providerId="ADAL" clId="{8A22DB22-CE08-4237-BAFA-661B83772496}" dt="2024-06-05T19:11:56.509" v="77"/>
          <ac:spMkLst>
            <pc:docMk/>
            <pc:sldMk cId="3194185217" sldId="5000"/>
            <ac:spMk id="295" creationId="{EB68446C-945A-6ADF-3CE9-D30D879C6230}"/>
          </ac:spMkLst>
        </pc:spChg>
        <pc:spChg chg="mod">
          <ac:chgData name="Elgee, Jeffrey (SPAC/PSPC)" userId="e10f0e9c-c03f-4fde-9113-11216b420c44" providerId="ADAL" clId="{8A22DB22-CE08-4237-BAFA-661B83772496}" dt="2024-06-05T19:11:56.509" v="77"/>
          <ac:spMkLst>
            <pc:docMk/>
            <pc:sldMk cId="3194185217" sldId="5000"/>
            <ac:spMk id="296" creationId="{2492619A-C3B3-556D-BB47-861CDACA10FB}"/>
          </ac:spMkLst>
        </pc:spChg>
        <pc:spChg chg="mod">
          <ac:chgData name="Elgee, Jeffrey (SPAC/PSPC)" userId="e10f0e9c-c03f-4fde-9113-11216b420c44" providerId="ADAL" clId="{8A22DB22-CE08-4237-BAFA-661B83772496}" dt="2024-06-05T20:38:58.325" v="104" actId="207"/>
          <ac:spMkLst>
            <pc:docMk/>
            <pc:sldMk cId="3194185217" sldId="5000"/>
            <ac:spMk id="297" creationId="{C30C9C55-3D44-2CD4-FCA1-D74BADC6B2E4}"/>
          </ac:spMkLst>
        </pc:spChg>
        <pc:spChg chg="mod">
          <ac:chgData name="Elgee, Jeffrey (SPAC/PSPC)" userId="e10f0e9c-c03f-4fde-9113-11216b420c44" providerId="ADAL" clId="{8A22DB22-CE08-4237-BAFA-661B83772496}" dt="2024-06-05T19:14:13.989" v="93" actId="207"/>
          <ac:spMkLst>
            <pc:docMk/>
            <pc:sldMk cId="3194185217" sldId="5000"/>
            <ac:spMk id="298" creationId="{49C95C00-4B7F-CA58-5AF2-082B42759803}"/>
          </ac:spMkLst>
        </pc:spChg>
        <pc:spChg chg="mod">
          <ac:chgData name="Elgee, Jeffrey (SPAC/PSPC)" userId="e10f0e9c-c03f-4fde-9113-11216b420c44" providerId="ADAL" clId="{8A22DB22-CE08-4237-BAFA-661B83772496}" dt="2024-06-05T19:11:56.509" v="77"/>
          <ac:spMkLst>
            <pc:docMk/>
            <pc:sldMk cId="3194185217" sldId="5000"/>
            <ac:spMk id="299" creationId="{DDA29F15-71FD-4003-42A2-886ED3F2FFDA}"/>
          </ac:spMkLst>
        </pc:spChg>
        <pc:spChg chg="mod">
          <ac:chgData name="Elgee, Jeffrey (SPAC/PSPC)" userId="e10f0e9c-c03f-4fde-9113-11216b420c44" providerId="ADAL" clId="{8A22DB22-CE08-4237-BAFA-661B83772496}" dt="2024-06-05T19:11:56.509" v="77"/>
          <ac:spMkLst>
            <pc:docMk/>
            <pc:sldMk cId="3194185217" sldId="5000"/>
            <ac:spMk id="300" creationId="{3B5E7367-27BE-841E-BFF6-2EE465A8DDB3}"/>
          </ac:spMkLst>
        </pc:spChg>
        <pc:spChg chg="mod">
          <ac:chgData name="Elgee, Jeffrey (SPAC/PSPC)" userId="e10f0e9c-c03f-4fde-9113-11216b420c44" providerId="ADAL" clId="{8A22DB22-CE08-4237-BAFA-661B83772496}" dt="2024-06-05T19:14:13.989" v="93" actId="207"/>
          <ac:spMkLst>
            <pc:docMk/>
            <pc:sldMk cId="3194185217" sldId="5000"/>
            <ac:spMk id="301" creationId="{54917BA4-35E9-EC20-1F6B-90754EFA42FF}"/>
          </ac:spMkLst>
        </pc:spChg>
        <pc:spChg chg="mod">
          <ac:chgData name="Elgee, Jeffrey (SPAC/PSPC)" userId="e10f0e9c-c03f-4fde-9113-11216b420c44" providerId="ADAL" clId="{8A22DB22-CE08-4237-BAFA-661B83772496}" dt="2024-06-05T19:14:13.989" v="93" actId="207"/>
          <ac:spMkLst>
            <pc:docMk/>
            <pc:sldMk cId="3194185217" sldId="5000"/>
            <ac:spMk id="302" creationId="{C3416265-BDEF-8331-B39A-01D86E0CB5C6}"/>
          </ac:spMkLst>
        </pc:spChg>
        <pc:spChg chg="mod">
          <ac:chgData name="Elgee, Jeffrey (SPAC/PSPC)" userId="e10f0e9c-c03f-4fde-9113-11216b420c44" providerId="ADAL" clId="{8A22DB22-CE08-4237-BAFA-661B83772496}" dt="2024-06-05T19:11:56.509" v="77"/>
          <ac:spMkLst>
            <pc:docMk/>
            <pc:sldMk cId="3194185217" sldId="5000"/>
            <ac:spMk id="303" creationId="{5C1649E8-3E17-F69A-9C9D-06491250E0B4}"/>
          </ac:spMkLst>
        </pc:spChg>
        <pc:spChg chg="mod">
          <ac:chgData name="Elgee, Jeffrey (SPAC/PSPC)" userId="e10f0e9c-c03f-4fde-9113-11216b420c44" providerId="ADAL" clId="{8A22DB22-CE08-4237-BAFA-661B83772496}" dt="2024-06-05T19:11:56.509" v="77"/>
          <ac:spMkLst>
            <pc:docMk/>
            <pc:sldMk cId="3194185217" sldId="5000"/>
            <ac:spMk id="304" creationId="{8FF39E85-EA61-3AF9-E36F-A2A41D7C536F}"/>
          </ac:spMkLst>
        </pc:spChg>
        <pc:spChg chg="mod">
          <ac:chgData name="Elgee, Jeffrey (SPAC/PSPC)" userId="e10f0e9c-c03f-4fde-9113-11216b420c44" providerId="ADAL" clId="{8A22DB22-CE08-4237-BAFA-661B83772496}" dt="2024-06-05T19:11:56.509" v="77"/>
          <ac:spMkLst>
            <pc:docMk/>
            <pc:sldMk cId="3194185217" sldId="5000"/>
            <ac:spMk id="305" creationId="{FEFE2669-FC11-1E25-1660-19113C3702FD}"/>
          </ac:spMkLst>
        </pc:spChg>
        <pc:spChg chg="mod">
          <ac:chgData name="Elgee, Jeffrey (SPAC/PSPC)" userId="e10f0e9c-c03f-4fde-9113-11216b420c44" providerId="ADAL" clId="{8A22DB22-CE08-4237-BAFA-661B83772496}" dt="2024-06-05T19:14:13.989" v="93" actId="207"/>
          <ac:spMkLst>
            <pc:docMk/>
            <pc:sldMk cId="3194185217" sldId="5000"/>
            <ac:spMk id="306" creationId="{7FC99DFE-CB17-B304-2692-3FD0448BAB43}"/>
          </ac:spMkLst>
        </pc:spChg>
        <pc:spChg chg="mod">
          <ac:chgData name="Elgee, Jeffrey (SPAC/PSPC)" userId="e10f0e9c-c03f-4fde-9113-11216b420c44" providerId="ADAL" clId="{8A22DB22-CE08-4237-BAFA-661B83772496}" dt="2024-06-05T19:11:56.509" v="77"/>
          <ac:spMkLst>
            <pc:docMk/>
            <pc:sldMk cId="3194185217" sldId="5000"/>
            <ac:spMk id="307" creationId="{0F034014-6239-3A54-2E9F-862927701543}"/>
          </ac:spMkLst>
        </pc:spChg>
        <pc:spChg chg="mod">
          <ac:chgData name="Elgee, Jeffrey (SPAC/PSPC)" userId="e10f0e9c-c03f-4fde-9113-11216b420c44" providerId="ADAL" clId="{8A22DB22-CE08-4237-BAFA-661B83772496}" dt="2024-06-05T20:38:54.573" v="103" actId="207"/>
          <ac:spMkLst>
            <pc:docMk/>
            <pc:sldMk cId="3194185217" sldId="5000"/>
            <ac:spMk id="308" creationId="{1D4B8F6B-145B-6B0E-22E7-C36922CADBED}"/>
          </ac:spMkLst>
        </pc:spChg>
        <pc:spChg chg="mod">
          <ac:chgData name="Elgee, Jeffrey (SPAC/PSPC)" userId="e10f0e9c-c03f-4fde-9113-11216b420c44" providerId="ADAL" clId="{8A22DB22-CE08-4237-BAFA-661B83772496}" dt="2024-06-05T19:11:56.509" v="77"/>
          <ac:spMkLst>
            <pc:docMk/>
            <pc:sldMk cId="3194185217" sldId="5000"/>
            <ac:spMk id="309" creationId="{8236CE7B-D61F-E26F-7401-452B27D8DC31}"/>
          </ac:spMkLst>
        </pc:spChg>
        <pc:spChg chg="mod">
          <ac:chgData name="Elgee, Jeffrey (SPAC/PSPC)" userId="e10f0e9c-c03f-4fde-9113-11216b420c44" providerId="ADAL" clId="{8A22DB22-CE08-4237-BAFA-661B83772496}" dt="2024-06-05T19:11:56.509" v="77"/>
          <ac:spMkLst>
            <pc:docMk/>
            <pc:sldMk cId="3194185217" sldId="5000"/>
            <ac:spMk id="310" creationId="{66D5FCE9-5B03-0A50-3AA2-ACC0414A949C}"/>
          </ac:spMkLst>
        </pc:spChg>
        <pc:spChg chg="add mod">
          <ac:chgData name="Elgee, Jeffrey (SPAC/PSPC)" userId="e10f0e9c-c03f-4fde-9113-11216b420c44" providerId="ADAL" clId="{8A22DB22-CE08-4237-BAFA-661B83772496}" dt="2024-06-06T14:17:41.608" v="714" actId="1076"/>
          <ac:spMkLst>
            <pc:docMk/>
            <pc:sldMk cId="3194185217" sldId="5000"/>
            <ac:spMk id="311" creationId="{7F17BAD9-B2D7-AE7A-CCDA-9D497073F97B}"/>
          </ac:spMkLst>
        </pc:spChg>
        <pc:spChg chg="add del mod ord">
          <ac:chgData name="Elgee, Jeffrey (SPAC/PSPC)" userId="e10f0e9c-c03f-4fde-9113-11216b420c44" providerId="ADAL" clId="{8A22DB22-CE08-4237-BAFA-661B83772496}" dt="2024-06-06T14:58:40.515" v="890" actId="478"/>
          <ac:spMkLst>
            <pc:docMk/>
            <pc:sldMk cId="3194185217" sldId="5000"/>
            <ac:spMk id="312" creationId="{069B07EA-B3CB-09DE-5233-1C1AE1F0B8F2}"/>
          </ac:spMkLst>
        </pc:spChg>
        <pc:spChg chg="add del mod ord">
          <ac:chgData name="Elgee, Jeffrey (SPAC/PSPC)" userId="e10f0e9c-c03f-4fde-9113-11216b420c44" providerId="ADAL" clId="{8A22DB22-CE08-4237-BAFA-661B83772496}" dt="2024-06-06T14:58:48.173" v="891" actId="478"/>
          <ac:spMkLst>
            <pc:docMk/>
            <pc:sldMk cId="3194185217" sldId="5000"/>
            <ac:spMk id="313" creationId="{E05D7B36-537E-B229-7E2A-64811EB0EE2C}"/>
          </ac:spMkLst>
        </pc:spChg>
        <pc:grpChg chg="mod">
          <ac:chgData name="Elgee, Jeffrey (SPAC/PSPC)" userId="e10f0e9c-c03f-4fde-9113-11216b420c44" providerId="ADAL" clId="{8A22DB22-CE08-4237-BAFA-661B83772496}" dt="2024-06-05T19:12:26.702" v="81" actId="1076"/>
          <ac:grpSpMkLst>
            <pc:docMk/>
            <pc:sldMk cId="3194185217" sldId="5000"/>
            <ac:grpSpMk id="3" creationId="{EAFCA7DA-B3A3-40D1-F2DD-88BF94C0FDEE}"/>
          </ac:grpSpMkLst>
        </pc:grpChg>
        <pc:grpChg chg="mod">
          <ac:chgData name="Elgee, Jeffrey (SPAC/PSPC)" userId="e10f0e9c-c03f-4fde-9113-11216b420c44" providerId="ADAL" clId="{8A22DB22-CE08-4237-BAFA-661B83772496}" dt="2024-06-05T18:33:18.979" v="25" actId="571"/>
          <ac:grpSpMkLst>
            <pc:docMk/>
            <pc:sldMk cId="3194185217" sldId="5000"/>
            <ac:grpSpMk id="6" creationId="{0DE56BB4-308D-A654-219C-A500E6723FB2}"/>
          </ac:grpSpMkLst>
        </pc:grpChg>
        <pc:grpChg chg="del">
          <ac:chgData name="Elgee, Jeffrey (SPAC/PSPC)" userId="e10f0e9c-c03f-4fde-9113-11216b420c44" providerId="ADAL" clId="{8A22DB22-CE08-4237-BAFA-661B83772496}" dt="2024-06-05T18:31:10.735" v="5" actId="478"/>
          <ac:grpSpMkLst>
            <pc:docMk/>
            <pc:sldMk cId="3194185217" sldId="5000"/>
            <ac:grpSpMk id="7" creationId="{3CE29C31-5266-A23D-B16D-8E36CF33D450}"/>
          </ac:grpSpMkLst>
        </pc:grpChg>
        <pc:grpChg chg="del">
          <ac:chgData name="Elgee, Jeffrey (SPAC/PSPC)" userId="e10f0e9c-c03f-4fde-9113-11216b420c44" providerId="ADAL" clId="{8A22DB22-CE08-4237-BAFA-661B83772496}" dt="2024-06-05T18:31:25.132" v="7" actId="478"/>
          <ac:grpSpMkLst>
            <pc:docMk/>
            <pc:sldMk cId="3194185217" sldId="5000"/>
            <ac:grpSpMk id="10" creationId="{3D5CB0FE-E0FC-FBD6-513D-6DFA83E357B9}"/>
          </ac:grpSpMkLst>
        </pc:grpChg>
        <pc:grpChg chg="mod">
          <ac:chgData name="Elgee, Jeffrey (SPAC/PSPC)" userId="e10f0e9c-c03f-4fde-9113-11216b420c44" providerId="ADAL" clId="{8A22DB22-CE08-4237-BAFA-661B83772496}" dt="2024-06-05T18:33:18.979" v="25" actId="571"/>
          <ac:grpSpMkLst>
            <pc:docMk/>
            <pc:sldMk cId="3194185217" sldId="5000"/>
            <ac:grpSpMk id="13" creationId="{F749FBA4-6C9D-0CDF-7180-93E2D3A08598}"/>
          </ac:grpSpMkLst>
        </pc:grpChg>
        <pc:grpChg chg="del">
          <ac:chgData name="Elgee, Jeffrey (SPAC/PSPC)" userId="e10f0e9c-c03f-4fde-9113-11216b420c44" providerId="ADAL" clId="{8A22DB22-CE08-4237-BAFA-661B83772496}" dt="2024-06-05T18:30:47.411" v="1" actId="478"/>
          <ac:grpSpMkLst>
            <pc:docMk/>
            <pc:sldMk cId="3194185217" sldId="5000"/>
            <ac:grpSpMk id="16" creationId="{AF651BEA-62A1-A2B8-AAC2-489C44D92640}"/>
          </ac:grpSpMkLst>
        </pc:grpChg>
        <pc:grpChg chg="mod">
          <ac:chgData name="Elgee, Jeffrey (SPAC/PSPC)" userId="e10f0e9c-c03f-4fde-9113-11216b420c44" providerId="ADAL" clId="{8A22DB22-CE08-4237-BAFA-661B83772496}" dt="2024-06-05T18:33:18.979" v="25" actId="571"/>
          <ac:grpSpMkLst>
            <pc:docMk/>
            <pc:sldMk cId="3194185217" sldId="5000"/>
            <ac:grpSpMk id="60" creationId="{82FE7FD9-8BD5-08EF-9E22-AFEFFCC4C5B5}"/>
          </ac:grpSpMkLst>
        </pc:grpChg>
        <pc:grpChg chg="mod">
          <ac:chgData name="Elgee, Jeffrey (SPAC/PSPC)" userId="e10f0e9c-c03f-4fde-9113-11216b420c44" providerId="ADAL" clId="{8A22DB22-CE08-4237-BAFA-661B83772496}" dt="2024-06-05T18:33:18.979" v="25" actId="571"/>
          <ac:grpSpMkLst>
            <pc:docMk/>
            <pc:sldMk cId="3194185217" sldId="5000"/>
            <ac:grpSpMk id="63" creationId="{1F253533-8F61-A98F-A047-62E035D20E2F}"/>
          </ac:grpSpMkLst>
        </pc:grpChg>
        <pc:grpChg chg="mod">
          <ac:chgData name="Elgee, Jeffrey (SPAC/PSPC)" userId="e10f0e9c-c03f-4fde-9113-11216b420c44" providerId="ADAL" clId="{8A22DB22-CE08-4237-BAFA-661B83772496}" dt="2024-06-05T18:33:18.979" v="25" actId="571"/>
          <ac:grpSpMkLst>
            <pc:docMk/>
            <pc:sldMk cId="3194185217" sldId="5000"/>
            <ac:grpSpMk id="66" creationId="{B5065F49-4327-3E58-27D6-B67BE6060D1F}"/>
          </ac:grpSpMkLst>
        </pc:grpChg>
        <pc:grpChg chg="del">
          <ac:chgData name="Elgee, Jeffrey (SPAC/PSPC)" userId="e10f0e9c-c03f-4fde-9113-11216b420c44" providerId="ADAL" clId="{8A22DB22-CE08-4237-BAFA-661B83772496}" dt="2024-06-05T19:12:03.781" v="79" actId="478"/>
          <ac:grpSpMkLst>
            <pc:docMk/>
            <pc:sldMk cId="3194185217" sldId="5000"/>
            <ac:grpSpMk id="110" creationId="{1CB9BAB3-39DC-FD22-E6E1-937E3162FB5C}"/>
          </ac:grpSpMkLst>
        </pc:grpChg>
        <pc:grpChg chg="add mod">
          <ac:chgData name="Elgee, Jeffrey (SPAC/PSPC)" userId="e10f0e9c-c03f-4fde-9113-11216b420c44" providerId="ADAL" clId="{8A22DB22-CE08-4237-BAFA-661B83772496}" dt="2024-06-05T19:12:32.102" v="82" actId="1076"/>
          <ac:grpSpMkLst>
            <pc:docMk/>
            <pc:sldMk cId="3194185217" sldId="5000"/>
            <ac:grpSpMk id="227" creationId="{CD4E07AF-5600-82A3-E8AC-221858721018}"/>
          </ac:grpSpMkLst>
        </pc:grpChg>
        <pc:grpChg chg="mod">
          <ac:chgData name="Elgee, Jeffrey (SPAC/PSPC)" userId="e10f0e9c-c03f-4fde-9113-11216b420c44" providerId="ADAL" clId="{8A22DB22-CE08-4237-BAFA-661B83772496}" dt="2024-06-05T19:11:56.509" v="77"/>
          <ac:grpSpMkLst>
            <pc:docMk/>
            <pc:sldMk cId="3194185217" sldId="5000"/>
            <ac:grpSpMk id="229" creationId="{55ED023E-A6E0-9EC6-D06E-3F984796C7DA}"/>
          </ac:grpSpMkLst>
        </pc:grpChg>
        <pc:grpChg chg="mod">
          <ac:chgData name="Elgee, Jeffrey (SPAC/PSPC)" userId="e10f0e9c-c03f-4fde-9113-11216b420c44" providerId="ADAL" clId="{8A22DB22-CE08-4237-BAFA-661B83772496}" dt="2024-06-05T19:11:56.509" v="77"/>
          <ac:grpSpMkLst>
            <pc:docMk/>
            <pc:sldMk cId="3194185217" sldId="5000"/>
            <ac:grpSpMk id="230" creationId="{1C4847AD-FE06-E551-7752-60670ECFA86A}"/>
          </ac:grpSpMkLst>
        </pc:grpChg>
        <pc:grpChg chg="mod">
          <ac:chgData name="Elgee, Jeffrey (SPAC/PSPC)" userId="e10f0e9c-c03f-4fde-9113-11216b420c44" providerId="ADAL" clId="{8A22DB22-CE08-4237-BAFA-661B83772496}" dt="2024-06-05T19:11:56.509" v="77"/>
          <ac:grpSpMkLst>
            <pc:docMk/>
            <pc:sldMk cId="3194185217" sldId="5000"/>
            <ac:grpSpMk id="261" creationId="{84687D3C-FA6B-460B-01F4-4DAD9CC781A5}"/>
          </ac:grpSpMkLst>
        </pc:grpChg>
        <pc:grpChg chg="mod">
          <ac:chgData name="Elgee, Jeffrey (SPAC/PSPC)" userId="e10f0e9c-c03f-4fde-9113-11216b420c44" providerId="ADAL" clId="{8A22DB22-CE08-4237-BAFA-661B83772496}" dt="2024-06-05T19:11:56.509" v="77"/>
          <ac:grpSpMkLst>
            <pc:docMk/>
            <pc:sldMk cId="3194185217" sldId="5000"/>
            <ac:grpSpMk id="264" creationId="{C43026BC-7468-7C75-B9A5-92293150B486}"/>
          </ac:grpSpMkLst>
        </pc:grpChg>
        <pc:grpChg chg="mod">
          <ac:chgData name="Elgee, Jeffrey (SPAC/PSPC)" userId="e10f0e9c-c03f-4fde-9113-11216b420c44" providerId="ADAL" clId="{8A22DB22-CE08-4237-BAFA-661B83772496}" dt="2024-06-05T19:11:56.509" v="77"/>
          <ac:grpSpMkLst>
            <pc:docMk/>
            <pc:sldMk cId="3194185217" sldId="5000"/>
            <ac:grpSpMk id="267" creationId="{E4D23994-3511-2B97-4899-ED589D1D8E98}"/>
          </ac:grpSpMkLst>
        </pc:grpChg>
        <pc:picChg chg="del">
          <ac:chgData name="Elgee, Jeffrey (SPAC/PSPC)" userId="e10f0e9c-c03f-4fde-9113-11216b420c44" providerId="ADAL" clId="{8A22DB22-CE08-4237-BAFA-661B83772496}" dt="2024-06-05T18:31:35.243" v="9" actId="478"/>
          <ac:picMkLst>
            <pc:docMk/>
            <pc:sldMk cId="3194185217" sldId="5000"/>
            <ac:picMk id="9" creationId="{9F8A92B7-6443-26F8-64F5-FA19B8FA9AF0}"/>
          </ac:picMkLst>
        </pc:picChg>
        <pc:picChg chg="del">
          <ac:chgData name="Elgee, Jeffrey (SPAC/PSPC)" userId="e10f0e9c-c03f-4fde-9113-11216b420c44" providerId="ADAL" clId="{8A22DB22-CE08-4237-BAFA-661B83772496}" dt="2024-06-05T18:31:10.735" v="5" actId="478"/>
          <ac:picMkLst>
            <pc:docMk/>
            <pc:sldMk cId="3194185217" sldId="5000"/>
            <ac:picMk id="11" creationId="{643117AF-11BB-4D82-F9B1-D3525CF74A00}"/>
          </ac:picMkLst>
        </pc:picChg>
        <pc:picChg chg="mod">
          <ac:chgData name="Elgee, Jeffrey (SPAC/PSPC)" userId="e10f0e9c-c03f-4fde-9113-11216b420c44" providerId="ADAL" clId="{8A22DB22-CE08-4237-BAFA-661B83772496}" dt="2024-06-05T18:33:18.979" v="25" actId="571"/>
          <ac:picMkLst>
            <pc:docMk/>
            <pc:sldMk cId="3194185217" sldId="5000"/>
            <ac:picMk id="61" creationId="{32F0EB88-3179-2E20-D0A5-98588731AA8B}"/>
          </ac:picMkLst>
        </pc:picChg>
        <pc:picChg chg="mod">
          <ac:chgData name="Elgee, Jeffrey (SPAC/PSPC)" userId="e10f0e9c-c03f-4fde-9113-11216b420c44" providerId="ADAL" clId="{8A22DB22-CE08-4237-BAFA-661B83772496}" dt="2024-06-05T19:11:56.509" v="77"/>
          <ac:picMkLst>
            <pc:docMk/>
            <pc:sldMk cId="3194185217" sldId="5000"/>
            <ac:picMk id="262" creationId="{A27F34E5-B66C-61A7-94D0-C691541E6BFF}"/>
          </ac:picMkLst>
        </pc:picChg>
        <pc:extLst>
          <p:ext xmlns:p="http://schemas.openxmlformats.org/presentationml/2006/main" uri="{D6D511B9-2390-475A-947B-AFAB55BFBCF1}">
            <pc226:cmChg xmlns:pc226="http://schemas.microsoft.com/office/powerpoint/2022/06/main/command" chg="">
              <pc226:chgData name="Elgee, Jeffrey (SPAC/PSPC)" userId="e10f0e9c-c03f-4fde-9113-11216b420c44" providerId="ADAL" clId="{8A22DB22-CE08-4237-BAFA-661B83772496}" dt="2024-06-11T14:21:12.428" v="3172"/>
              <pc2:cmMkLst xmlns:pc2="http://schemas.microsoft.com/office/powerpoint/2019/9/main/command">
                <pc:docMk/>
                <pc:sldMk cId="3194185217" sldId="5000"/>
                <pc2:cmMk id="{D8AF41D7-EAFF-41AE-AAA6-A98B0A870B29}"/>
              </pc2:cmMkLst>
              <pc226:cmRplyChg chg="add">
                <pc226:chgData name="Elgee, Jeffrey (SPAC/PSPC)" userId="e10f0e9c-c03f-4fde-9113-11216b420c44" providerId="ADAL" clId="{8A22DB22-CE08-4237-BAFA-661B83772496}" dt="2024-06-11T14:21:12.428" v="3172"/>
                <pc2:cmRplyMkLst xmlns:pc2="http://schemas.microsoft.com/office/powerpoint/2019/9/main/command">
                  <pc:docMk/>
                  <pc:sldMk cId="3194185217" sldId="5000"/>
                  <pc2:cmMk id="{D8AF41D7-EAFF-41AE-AAA6-A98B0A870B29}"/>
                  <pc2:cmRplyMk id="{1765C995-E2BA-40BE-A0E4-0984C3C45630}"/>
                </pc2:cmRplyMkLst>
              </pc226:cmRplyChg>
            </pc226:cmChg>
          </p:ext>
        </pc:extLst>
      </pc:sldChg>
      <pc:sldChg chg="del">
        <pc:chgData name="Elgee, Jeffrey (SPAC/PSPC)" userId="e10f0e9c-c03f-4fde-9113-11216b420c44" providerId="ADAL" clId="{8A22DB22-CE08-4237-BAFA-661B83772496}" dt="2024-06-05T20:54:58.546" v="283" actId="2696"/>
        <pc:sldMkLst>
          <pc:docMk/>
          <pc:sldMk cId="518497710" sldId="5001"/>
        </pc:sldMkLst>
      </pc:sldChg>
      <pc:sldChg chg="addSp delSp modSp add mod modClrScheme addCm chgLayout modNotesTx">
        <pc:chgData name="Elgee, Jeffrey (SPAC/PSPC)" userId="e10f0e9c-c03f-4fde-9113-11216b420c44" providerId="ADAL" clId="{8A22DB22-CE08-4237-BAFA-661B83772496}" dt="2024-06-12T13:41:45.679" v="3214"/>
        <pc:sldMkLst>
          <pc:docMk/>
          <pc:sldMk cId="1651678227" sldId="5001"/>
        </pc:sldMkLst>
        <pc:spChg chg="mod ord">
          <ac:chgData name="Elgee, Jeffrey (SPAC/PSPC)" userId="e10f0e9c-c03f-4fde-9113-11216b420c44" providerId="ADAL" clId="{8A22DB22-CE08-4237-BAFA-661B83772496}" dt="2024-06-06T14:56:21.771" v="877" actId="700"/>
          <ac:spMkLst>
            <pc:docMk/>
            <pc:sldMk cId="1651678227" sldId="5001"/>
            <ac:spMk id="2" creationId="{A08B4284-4C03-05F5-D379-8D8D6E310467}"/>
          </ac:spMkLst>
        </pc:spChg>
        <pc:spChg chg="add del mod ord">
          <ac:chgData name="Elgee, Jeffrey (SPAC/PSPC)" userId="e10f0e9c-c03f-4fde-9113-11216b420c44" providerId="ADAL" clId="{8A22DB22-CE08-4237-BAFA-661B83772496}" dt="2024-06-06T14:56:30.775" v="878" actId="478"/>
          <ac:spMkLst>
            <pc:docMk/>
            <pc:sldMk cId="1651678227" sldId="5001"/>
            <ac:spMk id="49" creationId="{57F10F23-E045-096C-B42C-4B6551449D8A}"/>
          </ac:spMkLst>
        </pc:spChg>
        <pc:spChg chg="add del mod ord">
          <ac:chgData name="Elgee, Jeffrey (SPAC/PSPC)" userId="e10f0e9c-c03f-4fde-9113-11216b420c44" providerId="ADAL" clId="{8A22DB22-CE08-4237-BAFA-661B83772496}" dt="2024-06-06T14:56:34.348" v="879" actId="478"/>
          <ac:spMkLst>
            <pc:docMk/>
            <pc:sldMk cId="1651678227" sldId="5001"/>
            <ac:spMk id="50" creationId="{89E7363A-F325-61A3-08B1-ACDBE8B7B8D9}"/>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1:45.679" v="3214"/>
              <pc2:cmMkLst xmlns:pc2="http://schemas.microsoft.com/office/powerpoint/2019/9/main/command">
                <pc:docMk/>
                <pc:sldMk cId="1651678227" sldId="5001"/>
                <pc2:cmMk id="{19123664-81CC-4E3E-914B-A37638716EF6}"/>
              </pc2:cmMkLst>
            </pc226:cmChg>
          </p:ext>
        </pc:extLst>
      </pc:sldChg>
      <pc:sldChg chg="del">
        <pc:chgData name="Elgee, Jeffrey (SPAC/PSPC)" userId="e10f0e9c-c03f-4fde-9113-11216b420c44" providerId="ADAL" clId="{8A22DB22-CE08-4237-BAFA-661B83772496}" dt="2024-06-07T18:41:21.536" v="1785" actId="47"/>
        <pc:sldMkLst>
          <pc:docMk/>
          <pc:sldMk cId="677863844" sldId="5002"/>
        </pc:sldMkLst>
      </pc:sldChg>
      <pc:sldChg chg="mod modShow">
        <pc:chgData name="Elgee, Jeffrey (SPAC/PSPC)" userId="e10f0e9c-c03f-4fde-9113-11216b420c44" providerId="ADAL" clId="{8A22DB22-CE08-4237-BAFA-661B83772496}" dt="2024-06-06T15:02:23.480" v="897" actId="729"/>
        <pc:sldMkLst>
          <pc:docMk/>
          <pc:sldMk cId="1903397118" sldId="5004"/>
        </pc:sldMkLst>
      </pc:sldChg>
      <pc:sldChg chg="mod modShow">
        <pc:chgData name="Elgee, Jeffrey (SPAC/PSPC)" userId="e10f0e9c-c03f-4fde-9113-11216b420c44" providerId="ADAL" clId="{8A22DB22-CE08-4237-BAFA-661B83772496}" dt="2024-06-06T15:02:23.480" v="897" actId="729"/>
        <pc:sldMkLst>
          <pc:docMk/>
          <pc:sldMk cId="3820944322" sldId="5005"/>
        </pc:sldMkLst>
      </pc:sldChg>
      <pc:sldChg chg="addSp delSp modSp new mod modClrScheme chgLayout modNotesTx">
        <pc:chgData name="Elgee, Jeffrey (SPAC/PSPC)" userId="e10f0e9c-c03f-4fde-9113-11216b420c44" providerId="ADAL" clId="{8A22DB22-CE08-4237-BAFA-661B83772496}" dt="2024-06-06T15:02:48.185" v="905" actId="20577"/>
        <pc:sldMkLst>
          <pc:docMk/>
          <pc:sldMk cId="1601877447" sldId="5006"/>
        </pc:sldMkLst>
        <pc:spChg chg="mod ord">
          <ac:chgData name="Elgee, Jeffrey (SPAC/PSPC)" userId="e10f0e9c-c03f-4fde-9113-11216b420c44" providerId="ADAL" clId="{8A22DB22-CE08-4237-BAFA-661B83772496}" dt="2024-06-06T14:34:31.959" v="874" actId="700"/>
          <ac:spMkLst>
            <pc:docMk/>
            <pc:sldMk cId="1601877447" sldId="5006"/>
            <ac:spMk id="2" creationId="{275AA91C-99CC-46FC-75BD-EEEF7FC9C76D}"/>
          </ac:spMkLst>
        </pc:spChg>
        <pc:spChg chg="add mod">
          <ac:chgData name="Elgee, Jeffrey (SPAC/PSPC)" userId="e10f0e9c-c03f-4fde-9113-11216b420c44" providerId="ADAL" clId="{8A22DB22-CE08-4237-BAFA-661B83772496}" dt="2024-06-06T15:02:48.185" v="905" actId="20577"/>
          <ac:spMkLst>
            <pc:docMk/>
            <pc:sldMk cId="1601877447" sldId="5006"/>
            <ac:spMk id="3" creationId="{47E30C84-4D17-AF02-DA40-A81607D74A4F}"/>
          </ac:spMkLst>
        </pc:spChg>
        <pc:spChg chg="add del mod ord">
          <ac:chgData name="Elgee, Jeffrey (SPAC/PSPC)" userId="e10f0e9c-c03f-4fde-9113-11216b420c44" providerId="ADAL" clId="{8A22DB22-CE08-4237-BAFA-661B83772496}" dt="2024-06-06T14:34:37.240" v="875" actId="478"/>
          <ac:spMkLst>
            <pc:docMk/>
            <pc:sldMk cId="1601877447" sldId="5006"/>
            <ac:spMk id="4" creationId="{DECB0C92-F9DB-23DE-8725-F98CC4756648}"/>
          </ac:spMkLst>
        </pc:spChg>
        <pc:spChg chg="add del mod ord">
          <ac:chgData name="Elgee, Jeffrey (SPAC/PSPC)" userId="e10f0e9c-c03f-4fde-9113-11216b420c44" providerId="ADAL" clId="{8A22DB22-CE08-4237-BAFA-661B83772496}" dt="2024-06-06T14:34:40.703" v="876" actId="478"/>
          <ac:spMkLst>
            <pc:docMk/>
            <pc:sldMk cId="1601877447" sldId="5006"/>
            <ac:spMk id="5" creationId="{E84C7FE5-FC66-B454-77C6-8A345AB41612}"/>
          </ac:spMkLst>
        </pc:spChg>
      </pc:sldChg>
      <pc:sldChg chg="addSp delSp new del mod">
        <pc:chgData name="Elgee, Jeffrey (SPAC/PSPC)" userId="e10f0e9c-c03f-4fde-9113-11216b420c44" providerId="ADAL" clId="{8A22DB22-CE08-4237-BAFA-661B83772496}" dt="2024-06-06T18:53:57.775" v="1410" actId="47"/>
        <pc:sldMkLst>
          <pc:docMk/>
          <pc:sldMk cId="3350132999" sldId="5007"/>
        </pc:sldMkLst>
        <pc:spChg chg="add del">
          <ac:chgData name="Elgee, Jeffrey (SPAC/PSPC)" userId="e10f0e9c-c03f-4fde-9113-11216b420c44" providerId="ADAL" clId="{8A22DB22-CE08-4237-BAFA-661B83772496}" dt="2024-06-06T17:45:31.314" v="909" actId="478"/>
          <ac:spMkLst>
            <pc:docMk/>
            <pc:sldMk cId="3350132999" sldId="5007"/>
            <ac:spMk id="7" creationId="{DB0E6EF0-01F5-DD71-C15D-7F364AEF76E8}"/>
          </ac:spMkLst>
        </pc:spChg>
        <pc:inkChg chg="add del">
          <ac:chgData name="Elgee, Jeffrey (SPAC/PSPC)" userId="e10f0e9c-c03f-4fde-9113-11216b420c44" providerId="ADAL" clId="{8A22DB22-CE08-4237-BAFA-661B83772496}" dt="2024-06-06T17:46:49.501" v="911" actId="9405"/>
          <ac:inkMkLst>
            <pc:docMk/>
            <pc:sldMk cId="3350132999" sldId="5007"/>
            <ac:inkMk id="8" creationId="{13155F75-F614-654B-E9D7-BBC213044CCE}"/>
          </ac:inkMkLst>
        </pc:inkChg>
        <pc:inkChg chg="add">
          <ac:chgData name="Elgee, Jeffrey (SPAC/PSPC)" userId="e10f0e9c-c03f-4fde-9113-11216b420c44" providerId="ADAL" clId="{8A22DB22-CE08-4237-BAFA-661B83772496}" dt="2024-06-06T17:59:48.951" v="912" actId="9405"/>
          <ac:inkMkLst>
            <pc:docMk/>
            <pc:sldMk cId="3350132999" sldId="5007"/>
            <ac:inkMk id="9" creationId="{62FAE120-9E58-FDFD-2932-18D87397120A}"/>
          </ac:inkMkLst>
        </pc:inkChg>
      </pc:sldChg>
      <pc:sldChg chg="new del">
        <pc:chgData name="Elgee, Jeffrey (SPAC/PSPC)" userId="e10f0e9c-c03f-4fde-9113-11216b420c44" providerId="ADAL" clId="{8A22DB22-CE08-4237-BAFA-661B83772496}" dt="2024-06-06T18:53:27.402" v="1409" actId="47"/>
        <pc:sldMkLst>
          <pc:docMk/>
          <pc:sldMk cId="2392695287" sldId="5008"/>
        </pc:sldMkLst>
      </pc:sldChg>
      <pc:sldChg chg="addSp modSp add mod modNotesTx">
        <pc:chgData name="Elgee, Jeffrey (SPAC/PSPC)" userId="e10f0e9c-c03f-4fde-9113-11216b420c44" providerId="ADAL" clId="{8A22DB22-CE08-4237-BAFA-661B83772496}" dt="2024-06-10T20:05:51.877" v="2550" actId="20577"/>
        <pc:sldMkLst>
          <pc:docMk/>
          <pc:sldMk cId="257696756" sldId="5009"/>
        </pc:sldMkLst>
        <pc:spChg chg="add mod">
          <ac:chgData name="Elgee, Jeffrey (SPAC/PSPC)" userId="e10f0e9c-c03f-4fde-9113-11216b420c44" providerId="ADAL" clId="{8A22DB22-CE08-4237-BAFA-661B83772496}" dt="2024-06-06T18:35:15.458" v="1395" actId="20577"/>
          <ac:spMkLst>
            <pc:docMk/>
            <pc:sldMk cId="257696756" sldId="5009"/>
            <ac:spMk id="2" creationId="{D960D336-DD27-5679-AECF-6C13D8155F68}"/>
          </ac:spMkLst>
        </pc:spChg>
        <pc:spChg chg="mod">
          <ac:chgData name="Elgee, Jeffrey (SPAC/PSPC)" userId="e10f0e9c-c03f-4fde-9113-11216b420c44" providerId="ADAL" clId="{8A22DB22-CE08-4237-BAFA-661B83772496}" dt="2024-06-06T18:29:35.148" v="1311" actId="207"/>
          <ac:spMkLst>
            <pc:docMk/>
            <pc:sldMk cId="257696756" sldId="5009"/>
            <ac:spMk id="10" creationId="{3D47C0AB-1ACB-3694-CE31-D36104FDCD68}"/>
          </ac:spMkLst>
        </pc:spChg>
        <pc:spChg chg="mod">
          <ac:chgData name="Elgee, Jeffrey (SPAC/PSPC)" userId="e10f0e9c-c03f-4fde-9113-11216b420c44" providerId="ADAL" clId="{8A22DB22-CE08-4237-BAFA-661B83772496}" dt="2024-06-06T18:29:46.188" v="1313" actId="208"/>
          <ac:spMkLst>
            <pc:docMk/>
            <pc:sldMk cId="257696756" sldId="5009"/>
            <ac:spMk id="40" creationId="{82E706F3-FA6A-1345-B840-7541D93DEE0B}"/>
          </ac:spMkLst>
        </pc:spChg>
        <pc:spChg chg="mod">
          <ac:chgData name="Elgee, Jeffrey (SPAC/PSPC)" userId="e10f0e9c-c03f-4fde-9113-11216b420c44" providerId="ADAL" clId="{8A22DB22-CE08-4237-BAFA-661B83772496}" dt="2024-06-06T18:30:46.350" v="1320" actId="207"/>
          <ac:spMkLst>
            <pc:docMk/>
            <pc:sldMk cId="257696756" sldId="5009"/>
            <ac:spMk id="51" creationId="{A42873D4-5793-384D-9BE3-818F527827B0}"/>
          </ac:spMkLst>
        </pc:spChg>
        <pc:spChg chg="mod">
          <ac:chgData name="Elgee, Jeffrey (SPAC/PSPC)" userId="e10f0e9c-c03f-4fde-9113-11216b420c44" providerId="ADAL" clId="{8A22DB22-CE08-4237-BAFA-661B83772496}" dt="2024-06-06T18:30:32.135" v="1319" actId="207"/>
          <ac:spMkLst>
            <pc:docMk/>
            <pc:sldMk cId="257696756" sldId="5009"/>
            <ac:spMk id="52" creationId="{E504786C-20B8-044D-B38E-955BC8F44CEA}"/>
          </ac:spMkLst>
        </pc:spChg>
        <pc:spChg chg="mod">
          <ac:chgData name="Elgee, Jeffrey (SPAC/PSPC)" userId="e10f0e9c-c03f-4fde-9113-11216b420c44" providerId="ADAL" clId="{8A22DB22-CE08-4237-BAFA-661B83772496}" dt="2024-06-06T18:29:57.856" v="1315" actId="207"/>
          <ac:spMkLst>
            <pc:docMk/>
            <pc:sldMk cId="257696756" sldId="5009"/>
            <ac:spMk id="54" creationId="{5490FC9F-889D-A044-9A24-51CB6BB0725C}"/>
          </ac:spMkLst>
        </pc:spChg>
        <pc:spChg chg="mod">
          <ac:chgData name="Elgee, Jeffrey (SPAC/PSPC)" userId="e10f0e9c-c03f-4fde-9113-11216b420c44" providerId="ADAL" clId="{8A22DB22-CE08-4237-BAFA-661B83772496}" dt="2024-06-06T18:29:53.513" v="1314" actId="207"/>
          <ac:spMkLst>
            <pc:docMk/>
            <pc:sldMk cId="257696756" sldId="5009"/>
            <ac:spMk id="55" creationId="{C65A198B-1883-1A4B-A8B4-DD725DC9EB17}"/>
          </ac:spMkLst>
        </pc:spChg>
        <pc:spChg chg="mod">
          <ac:chgData name="Elgee, Jeffrey (SPAC/PSPC)" userId="e10f0e9c-c03f-4fde-9113-11216b420c44" providerId="ADAL" clId="{8A22DB22-CE08-4237-BAFA-661B83772496}" dt="2024-06-06T18:30:02.450" v="1316" actId="207"/>
          <ac:spMkLst>
            <pc:docMk/>
            <pc:sldMk cId="257696756" sldId="5009"/>
            <ac:spMk id="56" creationId="{432E7640-9E73-0D40-A6F4-AC27C1BD258B}"/>
          </ac:spMkLst>
        </pc:spChg>
        <pc:spChg chg="mod">
          <ac:chgData name="Elgee, Jeffrey (SPAC/PSPC)" userId="e10f0e9c-c03f-4fde-9113-11216b420c44" providerId="ADAL" clId="{8A22DB22-CE08-4237-BAFA-661B83772496}" dt="2024-06-06T18:29:26.261" v="1310" actId="207"/>
          <ac:spMkLst>
            <pc:docMk/>
            <pc:sldMk cId="257696756" sldId="5009"/>
            <ac:spMk id="57" creationId="{9A6652DC-5AC2-7644-AD89-4F3E30042289}"/>
          </ac:spMkLst>
        </pc:spChg>
        <pc:spChg chg="mod">
          <ac:chgData name="Elgee, Jeffrey (SPAC/PSPC)" userId="e10f0e9c-c03f-4fde-9113-11216b420c44" providerId="ADAL" clId="{8A22DB22-CE08-4237-BAFA-661B83772496}" dt="2024-06-06T18:29:41.751" v="1312" actId="207"/>
          <ac:spMkLst>
            <pc:docMk/>
            <pc:sldMk cId="257696756" sldId="5009"/>
            <ac:spMk id="59" creationId="{F1F230E2-1267-6E4F-8031-0EC3BDB25111}"/>
          </ac:spMkLst>
        </pc:spChg>
        <pc:cxnChg chg="mod">
          <ac:chgData name="Elgee, Jeffrey (SPAC/PSPC)" userId="e10f0e9c-c03f-4fde-9113-11216b420c44" providerId="ADAL" clId="{8A22DB22-CE08-4237-BAFA-661B83772496}" dt="2024-06-06T18:27:51.510" v="1299" actId="208"/>
          <ac:cxnSpMkLst>
            <pc:docMk/>
            <pc:sldMk cId="257696756" sldId="5009"/>
            <ac:cxnSpMk id="13" creationId="{017A6896-7915-1C45-D73B-9C4D43C019AD}"/>
          </ac:cxnSpMkLst>
        </pc:cxnChg>
        <pc:cxnChg chg="mod">
          <ac:chgData name="Elgee, Jeffrey (SPAC/PSPC)" userId="e10f0e9c-c03f-4fde-9113-11216b420c44" providerId="ADAL" clId="{8A22DB22-CE08-4237-BAFA-661B83772496}" dt="2024-06-06T18:30:15.183" v="1318" actId="208"/>
          <ac:cxnSpMkLst>
            <pc:docMk/>
            <pc:sldMk cId="257696756" sldId="5009"/>
            <ac:cxnSpMk id="45" creationId="{136D3FD2-6787-4A4F-91CE-8770E54F376B}"/>
          </ac:cxnSpMkLst>
        </pc:cxnChg>
        <pc:cxnChg chg="mod">
          <ac:chgData name="Elgee, Jeffrey (SPAC/PSPC)" userId="e10f0e9c-c03f-4fde-9113-11216b420c44" providerId="ADAL" clId="{8A22DB22-CE08-4237-BAFA-661B83772496}" dt="2024-06-06T18:30:10.071" v="1317" actId="208"/>
          <ac:cxnSpMkLst>
            <pc:docMk/>
            <pc:sldMk cId="257696756" sldId="5009"/>
            <ac:cxnSpMk id="48" creationId="{349CE16F-30BD-634E-AC0B-DF9FE158DBDD}"/>
          </ac:cxnSpMkLst>
        </pc:cxnChg>
      </pc:sldChg>
      <pc:sldChg chg="addSp delSp modSp new mod">
        <pc:chgData name="Elgee, Jeffrey (SPAC/PSPC)" userId="e10f0e9c-c03f-4fde-9113-11216b420c44" providerId="ADAL" clId="{8A22DB22-CE08-4237-BAFA-661B83772496}" dt="2024-06-06T20:02:16.839" v="1686"/>
        <pc:sldMkLst>
          <pc:docMk/>
          <pc:sldMk cId="3716027044" sldId="5010"/>
        </pc:sldMkLst>
        <pc:spChg chg="mod">
          <ac:chgData name="Elgee, Jeffrey (SPAC/PSPC)" userId="e10f0e9c-c03f-4fde-9113-11216b420c44" providerId="ADAL" clId="{8A22DB22-CE08-4237-BAFA-661B83772496}" dt="2024-06-06T19:54:43.348" v="1683" actId="20577"/>
          <ac:spMkLst>
            <pc:docMk/>
            <pc:sldMk cId="3716027044" sldId="5010"/>
            <ac:spMk id="2" creationId="{50F19095-D162-D358-FA59-49FDCDDCAA28}"/>
          </ac:spMkLst>
        </pc:spChg>
        <pc:spChg chg="add del mod">
          <ac:chgData name="Elgee, Jeffrey (SPAC/PSPC)" userId="e10f0e9c-c03f-4fde-9113-11216b420c44" providerId="ADAL" clId="{8A22DB22-CE08-4237-BAFA-661B83772496}" dt="2024-06-06T20:02:16.839" v="1686"/>
          <ac:spMkLst>
            <pc:docMk/>
            <pc:sldMk cId="3716027044" sldId="5010"/>
            <ac:spMk id="3" creationId="{7DCED739-C118-050C-81A4-9BE76E7B67B3}"/>
          </ac:spMkLst>
        </pc:spChg>
      </pc:sldChg>
      <pc:sldChg chg="addSp delSp modSp new mod addCm modNotesTx">
        <pc:chgData name="Elgee, Jeffrey (SPAC/PSPC)" userId="e10f0e9c-c03f-4fde-9113-11216b420c44" providerId="ADAL" clId="{8A22DB22-CE08-4237-BAFA-661B83772496}" dt="2024-06-12T13:46:55.352" v="3381"/>
        <pc:sldMkLst>
          <pc:docMk/>
          <pc:sldMk cId="1717449089" sldId="5011"/>
        </pc:sldMkLst>
        <pc:spChg chg="add del mod">
          <ac:chgData name="Elgee, Jeffrey (SPAC/PSPC)" userId="e10f0e9c-c03f-4fde-9113-11216b420c44" providerId="ADAL" clId="{8A22DB22-CE08-4237-BAFA-661B83772496}" dt="2024-06-07T18:41:03.253" v="1783" actId="931"/>
          <ac:spMkLst>
            <pc:docMk/>
            <pc:sldMk cId="1717449089" sldId="5011"/>
            <ac:spMk id="2" creationId="{D7B97794-CF93-0FBC-9885-9B06A92255A4}"/>
          </ac:spMkLst>
        </pc:spChg>
        <pc:spChg chg="mod">
          <ac:chgData name="Elgee, Jeffrey (SPAC/PSPC)" userId="e10f0e9c-c03f-4fde-9113-11216b420c44" providerId="ADAL" clId="{8A22DB22-CE08-4237-BAFA-661B83772496}" dt="2024-06-12T13:44:55.093" v="3233" actId="20577"/>
          <ac:spMkLst>
            <pc:docMk/>
            <pc:sldMk cId="1717449089" sldId="5011"/>
            <ac:spMk id="3" creationId="{DE69AC7C-2B0D-CF31-48EE-53792B4D724E}"/>
          </ac:spMkLst>
        </pc:spChg>
        <pc:spChg chg="add del">
          <ac:chgData name="Elgee, Jeffrey (SPAC/PSPC)" userId="e10f0e9c-c03f-4fde-9113-11216b420c44" providerId="ADAL" clId="{8A22DB22-CE08-4237-BAFA-661B83772496}" dt="2024-06-07T18:08:29.257" v="1722" actId="478"/>
          <ac:spMkLst>
            <pc:docMk/>
            <pc:sldMk cId="1717449089" sldId="5011"/>
            <ac:spMk id="4" creationId="{5B0B17CE-1D12-6D66-D9B2-49E7603A2C9B}"/>
          </ac:spMkLst>
        </pc:spChg>
        <pc:spChg chg="mod">
          <ac:chgData name="Elgee, Jeffrey (SPAC/PSPC)" userId="e10f0e9c-c03f-4fde-9113-11216b420c44" providerId="ADAL" clId="{8A22DB22-CE08-4237-BAFA-661B83772496}" dt="2024-06-07T18:08:02.978" v="1717" actId="20577"/>
          <ac:spMkLst>
            <pc:docMk/>
            <pc:sldMk cId="1717449089" sldId="5011"/>
            <ac:spMk id="5" creationId="{A25F31FD-D91B-2F1F-48B5-8229C5FFF47F}"/>
          </ac:spMkLst>
        </pc:spChg>
        <pc:picChg chg="add del mod">
          <ac:chgData name="Elgee, Jeffrey (SPAC/PSPC)" userId="e10f0e9c-c03f-4fde-9113-11216b420c44" providerId="ADAL" clId="{8A22DB22-CE08-4237-BAFA-661B83772496}" dt="2024-06-07T18:40:13.504" v="1782" actId="931"/>
          <ac:picMkLst>
            <pc:docMk/>
            <pc:sldMk cId="1717449089" sldId="5011"/>
            <ac:picMk id="7" creationId="{DDD00BD3-C64D-90A7-1C98-1DDFA38AC6AC}"/>
          </ac:picMkLst>
        </pc:picChg>
        <pc:picChg chg="add mod">
          <ac:chgData name="Elgee, Jeffrey (SPAC/PSPC)" userId="e10f0e9c-c03f-4fde-9113-11216b420c44" providerId="ADAL" clId="{8A22DB22-CE08-4237-BAFA-661B83772496}" dt="2024-06-07T18:41:03.253" v="1783" actId="931"/>
          <ac:picMkLst>
            <pc:docMk/>
            <pc:sldMk cId="1717449089" sldId="5011"/>
            <ac:picMk id="9" creationId="{454D520A-4398-C925-7442-7C2F3F09B382}"/>
          </ac:picMkLst>
        </pc:pic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6:55.352" v="3381"/>
              <pc2:cmMkLst xmlns:pc2="http://schemas.microsoft.com/office/powerpoint/2019/9/main/command">
                <pc:docMk/>
                <pc:sldMk cId="1717449089" sldId="5011"/>
                <pc2:cmMk id="{529C2DE1-6C2F-4B5E-84E8-81A027F93166}"/>
              </pc2:cmMkLst>
            </pc226:cmChg>
          </p:ext>
        </pc:extLst>
      </pc:sldChg>
      <pc:sldChg chg="addSp delSp modSp new mod">
        <pc:chgData name="Elgee, Jeffrey (SPAC/PSPC)" userId="e10f0e9c-c03f-4fde-9113-11216b420c44" providerId="ADAL" clId="{8A22DB22-CE08-4237-BAFA-661B83772496}" dt="2024-06-07T20:52:00.760" v="2117" actId="6549"/>
        <pc:sldMkLst>
          <pc:docMk/>
          <pc:sldMk cId="1053501532" sldId="5012"/>
        </pc:sldMkLst>
        <pc:spChg chg="add del mod">
          <ac:chgData name="Elgee, Jeffrey (SPAC/PSPC)" userId="e10f0e9c-c03f-4fde-9113-11216b420c44" providerId="ADAL" clId="{8A22DB22-CE08-4237-BAFA-661B83772496}" dt="2024-06-07T19:27:50.654" v="1959" actId="931"/>
          <ac:spMkLst>
            <pc:docMk/>
            <pc:sldMk cId="1053501532" sldId="5012"/>
            <ac:spMk id="2" creationId="{70A35678-FC8B-3EAB-E299-D440EE8EC432}"/>
          </ac:spMkLst>
        </pc:spChg>
        <pc:spChg chg="mod">
          <ac:chgData name="Elgee, Jeffrey (SPAC/PSPC)" userId="e10f0e9c-c03f-4fde-9113-11216b420c44" providerId="ADAL" clId="{8A22DB22-CE08-4237-BAFA-661B83772496}" dt="2024-06-07T20:52:00.760" v="2117" actId="6549"/>
          <ac:spMkLst>
            <pc:docMk/>
            <pc:sldMk cId="1053501532" sldId="5012"/>
            <ac:spMk id="3" creationId="{F1C3E258-F619-5F69-B737-122EB008B65B}"/>
          </ac:spMkLst>
        </pc:spChg>
        <pc:spChg chg="del">
          <ac:chgData name="Elgee, Jeffrey (SPAC/PSPC)" userId="e10f0e9c-c03f-4fde-9113-11216b420c44" providerId="ADAL" clId="{8A22DB22-CE08-4237-BAFA-661B83772496}" dt="2024-06-07T19:11:28.360" v="1792" actId="478"/>
          <ac:spMkLst>
            <pc:docMk/>
            <pc:sldMk cId="1053501532" sldId="5012"/>
            <ac:spMk id="4" creationId="{E8F373B4-10FF-B63E-DAC7-35F32874F71F}"/>
          </ac:spMkLst>
        </pc:spChg>
        <pc:spChg chg="mod">
          <ac:chgData name="Elgee, Jeffrey (SPAC/PSPC)" userId="e10f0e9c-c03f-4fde-9113-11216b420c44" providerId="ADAL" clId="{8A22DB22-CE08-4237-BAFA-661B83772496}" dt="2024-06-07T19:15:19.466" v="1905" actId="20577"/>
          <ac:spMkLst>
            <pc:docMk/>
            <pc:sldMk cId="1053501532" sldId="5012"/>
            <ac:spMk id="5" creationId="{EA7F99B2-4BB8-F561-E89D-85B8AF383FB1}"/>
          </ac:spMkLst>
        </pc:spChg>
        <pc:picChg chg="add del mod">
          <ac:chgData name="Elgee, Jeffrey (SPAC/PSPC)" userId="e10f0e9c-c03f-4fde-9113-11216b420c44" providerId="ADAL" clId="{8A22DB22-CE08-4237-BAFA-661B83772496}" dt="2024-06-07T19:20:26.131" v="1909" actId="931"/>
          <ac:picMkLst>
            <pc:docMk/>
            <pc:sldMk cId="1053501532" sldId="5012"/>
            <ac:picMk id="7" creationId="{44076123-8F96-1D70-4495-BB774EADEC7A}"/>
          </ac:picMkLst>
        </pc:picChg>
        <pc:picChg chg="add mod">
          <ac:chgData name="Elgee, Jeffrey (SPAC/PSPC)" userId="e10f0e9c-c03f-4fde-9113-11216b420c44" providerId="ADAL" clId="{8A22DB22-CE08-4237-BAFA-661B83772496}" dt="2024-06-07T19:27:50.654" v="1959" actId="931"/>
          <ac:picMkLst>
            <pc:docMk/>
            <pc:sldMk cId="1053501532" sldId="5012"/>
            <ac:picMk id="9" creationId="{5D0D6A5D-EBDD-1FE0-787B-35B1EF327EF8}"/>
          </ac:picMkLst>
        </pc:picChg>
      </pc:sldChg>
      <pc:sldChg chg="modSp del mod">
        <pc:chgData name="Elgee, Jeffrey (SPAC/PSPC)" userId="e10f0e9c-c03f-4fde-9113-11216b420c44" providerId="ADAL" clId="{8A22DB22-CE08-4237-BAFA-661B83772496}" dt="2024-06-10T20:20:56.833" v="2646" actId="2696"/>
        <pc:sldMkLst>
          <pc:docMk/>
          <pc:sldMk cId="1228329092" sldId="5013"/>
        </pc:sldMkLst>
        <pc:spChg chg="mod">
          <ac:chgData name="Elgee, Jeffrey (SPAC/PSPC)" userId="e10f0e9c-c03f-4fde-9113-11216b420c44" providerId="ADAL" clId="{8A22DB22-CE08-4237-BAFA-661B83772496}" dt="2024-06-10T20:20:33.396" v="2645" actId="20577"/>
          <ac:spMkLst>
            <pc:docMk/>
            <pc:sldMk cId="1228329092" sldId="5013"/>
            <ac:spMk id="2" creationId="{2BFF691A-0106-26B8-89C1-55A17307E3C2}"/>
          </ac:spMkLst>
        </pc:spChg>
      </pc:sldChg>
      <pc:sldMasterChg chg="delSldLayout">
        <pc:chgData name="Elgee, Jeffrey (SPAC/PSPC)" userId="e10f0e9c-c03f-4fde-9113-11216b420c44" providerId="ADAL" clId="{8A22DB22-CE08-4237-BAFA-661B83772496}" dt="2024-06-06T18:53:27.402" v="1409" actId="47"/>
        <pc:sldMasterMkLst>
          <pc:docMk/>
          <pc:sldMasterMk cId="792885655" sldId="2147483675"/>
        </pc:sldMasterMkLst>
        <pc:sldLayoutChg chg="del">
          <pc:chgData name="Elgee, Jeffrey (SPAC/PSPC)" userId="e10f0e9c-c03f-4fde-9113-11216b420c44" providerId="ADAL" clId="{8A22DB22-CE08-4237-BAFA-661B83772496}" dt="2024-06-06T18:53:27.402" v="1409" actId="47"/>
          <pc:sldLayoutMkLst>
            <pc:docMk/>
            <pc:sldMasterMk cId="792885655" sldId="2147483675"/>
            <pc:sldLayoutMk cId="2138323" sldId="2147483699"/>
          </pc:sldLayoutMkLst>
        </pc:sldLayoutChg>
      </pc:sldMasterChg>
    </pc:docChg>
  </pc:docChgLst>
  <pc:docChgLst>
    <pc:chgData name="Yassa, Marie-Catherine (SPAC/PSPC)" userId="S::marie-catherine.yassa@tpsgc-pwgsc.gc.ca::267c140e-fceb-445b-84ed-5b781d522844" providerId="AD" clId="Web-{50A577EB-72A1-10A7-CD5C-9633A34A1E57}"/>
    <pc:docChg chg="modSld">
      <pc:chgData name="Yassa, Marie-Catherine (SPAC/PSPC)" userId="S::marie-catherine.yassa@tpsgc-pwgsc.gc.ca::267c140e-fceb-445b-84ed-5b781d522844" providerId="AD" clId="Web-{50A577EB-72A1-10A7-CD5C-9633A34A1E57}" dt="2024-06-20T18:37:16.691" v="1" actId="14100"/>
      <pc:docMkLst>
        <pc:docMk/>
      </pc:docMkLst>
      <pc:sldChg chg="modSp">
        <pc:chgData name="Yassa, Marie-Catherine (SPAC/PSPC)" userId="S::marie-catherine.yassa@tpsgc-pwgsc.gc.ca::267c140e-fceb-445b-84ed-5b781d522844" providerId="AD" clId="Web-{50A577EB-72A1-10A7-CD5C-9633A34A1E57}" dt="2024-06-20T18:35:24.845" v="0"/>
        <pc:sldMkLst>
          <pc:docMk/>
          <pc:sldMk cId="1717449089" sldId="5011"/>
        </pc:sldMkLst>
        <pc:spChg chg="mod">
          <ac:chgData name="Yassa, Marie-Catherine (SPAC/PSPC)" userId="S::marie-catherine.yassa@tpsgc-pwgsc.gc.ca::267c140e-fceb-445b-84ed-5b781d522844" providerId="AD" clId="Web-{50A577EB-72A1-10A7-CD5C-9633A34A1E57}" dt="2024-06-20T18:35:24.845" v="0"/>
          <ac:spMkLst>
            <pc:docMk/>
            <pc:sldMk cId="1717449089" sldId="5011"/>
            <ac:spMk id="3" creationId="{DE69AC7C-2B0D-CF31-48EE-53792B4D724E}"/>
          </ac:spMkLst>
        </pc:spChg>
      </pc:sldChg>
      <pc:sldChg chg="modSp">
        <pc:chgData name="Yassa, Marie-Catherine (SPAC/PSPC)" userId="S::marie-catherine.yassa@tpsgc-pwgsc.gc.ca::267c140e-fceb-445b-84ed-5b781d522844" providerId="AD" clId="Web-{50A577EB-72A1-10A7-CD5C-9633A34A1E57}" dt="2024-06-20T18:37:16.691" v="1" actId="14100"/>
        <pc:sldMkLst>
          <pc:docMk/>
          <pc:sldMk cId="1053501532" sldId="5012"/>
        </pc:sldMkLst>
        <pc:spChg chg="mod">
          <ac:chgData name="Yassa, Marie-Catherine (SPAC/PSPC)" userId="S::marie-catherine.yassa@tpsgc-pwgsc.gc.ca::267c140e-fceb-445b-84ed-5b781d522844" providerId="AD" clId="Web-{50A577EB-72A1-10A7-CD5C-9633A34A1E57}" dt="2024-06-20T18:37:16.691" v="1" actId="14100"/>
          <ac:spMkLst>
            <pc:docMk/>
            <pc:sldMk cId="1053501532" sldId="5012"/>
            <ac:spMk id="5" creationId="{EA7F99B2-4BB8-F561-E89D-85B8AF383FB1}"/>
          </ac:spMkLst>
        </pc:spChg>
      </pc:sldChg>
    </pc:docChg>
  </pc:docChgLst>
  <pc:docChgLst>
    <pc:chgData name="Jacob, Karen (SPAC/PSPC) (elle-la / she-her)" userId="66e9cce0-e37b-4645-a907-f7690bd68dfb" providerId="ADAL" clId="{871AC57A-6E3B-4D85-BA02-8D6F5065EA89}"/>
    <pc:docChg chg="undo redo custSel addSld delSld modSld sldOrd">
      <pc:chgData name="Jacob, Karen (SPAC/PSPC) (elle-la / she-her)" userId="66e9cce0-e37b-4645-a907-f7690bd68dfb" providerId="ADAL" clId="{871AC57A-6E3B-4D85-BA02-8D6F5065EA89}" dt="2024-07-09T18:30:11.750" v="7189" actId="20577"/>
      <pc:docMkLst>
        <pc:docMk/>
      </pc:docMkLst>
      <pc:sldChg chg="mod modShow">
        <pc:chgData name="Jacob, Karen (SPAC/PSPC) (elle-la / she-her)" userId="66e9cce0-e37b-4645-a907-f7690bd68dfb" providerId="ADAL" clId="{871AC57A-6E3B-4D85-BA02-8D6F5065EA89}" dt="2024-06-21T14:25:28.177" v="2811" actId="729"/>
        <pc:sldMkLst>
          <pc:docMk/>
          <pc:sldMk cId="1875387166" sldId="261"/>
        </pc:sldMkLst>
      </pc:sldChg>
      <pc:sldChg chg="modSp mod">
        <pc:chgData name="Jacob, Karen (SPAC/PSPC) (elle-la / she-her)" userId="66e9cce0-e37b-4645-a907-f7690bd68dfb" providerId="ADAL" clId="{871AC57A-6E3B-4D85-BA02-8D6F5065EA89}" dt="2024-06-21T13:24:13.743" v="1274" actId="20577"/>
        <pc:sldMkLst>
          <pc:docMk/>
          <pc:sldMk cId="1739606208" sldId="384"/>
        </pc:sldMkLst>
        <pc:spChg chg="mod">
          <ac:chgData name="Jacob, Karen (SPAC/PSPC) (elle-la / she-her)" userId="66e9cce0-e37b-4645-a907-f7690bd68dfb" providerId="ADAL" clId="{871AC57A-6E3B-4D85-BA02-8D6F5065EA89}" dt="2024-06-21T13:23:59.291" v="1235" actId="20577"/>
          <ac:spMkLst>
            <pc:docMk/>
            <pc:sldMk cId="1739606208" sldId="384"/>
            <ac:spMk id="2" creationId="{00000000-0000-0000-0000-000000000000}"/>
          </ac:spMkLst>
        </pc:spChg>
        <pc:spChg chg="mod">
          <ac:chgData name="Jacob, Karen (SPAC/PSPC) (elle-la / she-her)" userId="66e9cce0-e37b-4645-a907-f7690bd68dfb" providerId="ADAL" clId="{871AC57A-6E3B-4D85-BA02-8D6F5065EA89}" dt="2024-06-21T13:24:13.743" v="1274" actId="20577"/>
          <ac:spMkLst>
            <pc:docMk/>
            <pc:sldMk cId="1739606208" sldId="384"/>
            <ac:spMk id="3" creationId="{00000000-0000-0000-0000-000000000000}"/>
          </ac:spMkLst>
        </pc:spChg>
      </pc:sldChg>
      <pc:sldChg chg="addSp delSp modSp add mod">
        <pc:chgData name="Jacob, Karen (SPAC/PSPC) (elle-la / she-her)" userId="66e9cce0-e37b-4645-a907-f7690bd68dfb" providerId="ADAL" clId="{871AC57A-6E3B-4D85-BA02-8D6F5065EA89}" dt="2024-06-21T15:27:24.701" v="4710" actId="1076"/>
        <pc:sldMkLst>
          <pc:docMk/>
          <pc:sldMk cId="986189170" sldId="393"/>
        </pc:sldMkLst>
        <pc:spChg chg="mod">
          <ac:chgData name="Jacob, Karen (SPAC/PSPC) (elle-la / she-her)" userId="66e9cce0-e37b-4645-a907-f7690bd68dfb" providerId="ADAL" clId="{871AC57A-6E3B-4D85-BA02-8D6F5065EA89}" dt="2024-06-21T14:49:55.711" v="3462" actId="20577"/>
          <ac:spMkLst>
            <pc:docMk/>
            <pc:sldMk cId="986189170" sldId="393"/>
            <ac:spMk id="2" creationId="{81BABC30-17CF-4A05-BBF2-C491854EEE86}"/>
          </ac:spMkLst>
        </pc:spChg>
        <pc:spChg chg="add del mod">
          <ac:chgData name="Jacob, Karen (SPAC/PSPC) (elle-la / she-her)" userId="66e9cce0-e37b-4645-a907-f7690bd68dfb" providerId="ADAL" clId="{871AC57A-6E3B-4D85-BA02-8D6F5065EA89}" dt="2024-06-21T15:27:18.300" v="4709" actId="478"/>
          <ac:spMkLst>
            <pc:docMk/>
            <pc:sldMk cId="986189170" sldId="393"/>
            <ac:spMk id="3" creationId="{57A73D9B-F49C-8A88-17FF-A48188B2CD31}"/>
          </ac:spMkLst>
        </pc:spChg>
        <pc:spChg chg="mod">
          <ac:chgData name="Jacob, Karen (SPAC/PSPC) (elle-la / she-her)" userId="66e9cce0-e37b-4645-a907-f7690bd68dfb" providerId="ADAL" clId="{871AC57A-6E3B-4D85-BA02-8D6F5065EA89}" dt="2024-06-21T14:21:00.852" v="2672" actId="20577"/>
          <ac:spMkLst>
            <pc:docMk/>
            <pc:sldMk cId="986189170" sldId="393"/>
            <ac:spMk id="42" creationId="{BCEE7515-3524-472F-8F58-BF6E58A6FF68}"/>
          </ac:spMkLst>
        </pc:spChg>
        <pc:spChg chg="mod">
          <ac:chgData name="Jacob, Karen (SPAC/PSPC) (elle-la / she-her)" userId="66e9cce0-e37b-4645-a907-f7690bd68dfb" providerId="ADAL" clId="{871AC57A-6E3B-4D85-BA02-8D6F5065EA89}" dt="2024-06-21T14:21:08.140" v="2675" actId="20577"/>
          <ac:spMkLst>
            <pc:docMk/>
            <pc:sldMk cId="986189170" sldId="393"/>
            <ac:spMk id="43" creationId="{A95862EF-6835-47F7-810D-D13EB59C9F3C}"/>
          </ac:spMkLst>
        </pc:spChg>
        <pc:spChg chg="mod">
          <ac:chgData name="Jacob, Karen (SPAC/PSPC) (elle-la / she-her)" userId="66e9cce0-e37b-4645-a907-f7690bd68dfb" providerId="ADAL" clId="{871AC57A-6E3B-4D85-BA02-8D6F5065EA89}" dt="2024-06-21T14:31:33.531" v="2852" actId="1076"/>
          <ac:spMkLst>
            <pc:docMk/>
            <pc:sldMk cId="986189170" sldId="393"/>
            <ac:spMk id="44" creationId="{279DBB7C-9EAA-452F-95CC-784DB91B3516}"/>
          </ac:spMkLst>
        </pc:spChg>
        <pc:spChg chg="mod">
          <ac:chgData name="Jacob, Karen (SPAC/PSPC) (elle-la / she-her)" userId="66e9cce0-e37b-4645-a907-f7690bd68dfb" providerId="ADAL" clId="{871AC57A-6E3B-4D85-BA02-8D6F5065EA89}" dt="2024-06-21T14:21:20.953" v="2681" actId="20577"/>
          <ac:spMkLst>
            <pc:docMk/>
            <pc:sldMk cId="986189170" sldId="393"/>
            <ac:spMk id="45" creationId="{B399EB39-A3D7-4EC0-9D48-E3D784BD2DD7}"/>
          </ac:spMkLst>
        </pc:spChg>
        <pc:spChg chg="mod">
          <ac:chgData name="Jacob, Karen (SPAC/PSPC) (elle-la / she-her)" userId="66e9cce0-e37b-4645-a907-f7690bd68dfb" providerId="ADAL" clId="{871AC57A-6E3B-4D85-BA02-8D6F5065EA89}" dt="2024-06-21T14:30:52.964" v="2849" actId="113"/>
          <ac:spMkLst>
            <pc:docMk/>
            <pc:sldMk cId="986189170" sldId="393"/>
            <ac:spMk id="46" creationId="{C1C564CC-726D-4AF9-9415-EA9A7827EF0B}"/>
          </ac:spMkLst>
        </pc:spChg>
        <pc:spChg chg="mod">
          <ac:chgData name="Jacob, Karen (SPAC/PSPC) (elle-la / she-her)" userId="66e9cce0-e37b-4645-a907-f7690bd68dfb" providerId="ADAL" clId="{871AC57A-6E3B-4D85-BA02-8D6F5065EA89}" dt="2024-06-21T14:31:30.537" v="2851" actId="1076"/>
          <ac:spMkLst>
            <pc:docMk/>
            <pc:sldMk cId="986189170" sldId="393"/>
            <ac:spMk id="47" creationId="{7610ADAC-96D2-4161-8E5B-D809086A6EA4}"/>
          </ac:spMkLst>
        </pc:spChg>
        <pc:spChg chg="mod">
          <ac:chgData name="Jacob, Karen (SPAC/PSPC) (elle-la / she-her)" userId="66e9cce0-e37b-4645-a907-f7690bd68dfb" providerId="ADAL" clId="{871AC57A-6E3B-4D85-BA02-8D6F5065EA89}" dt="2024-06-21T14:31:42.903" v="2867" actId="20577"/>
          <ac:spMkLst>
            <pc:docMk/>
            <pc:sldMk cId="986189170" sldId="393"/>
            <ac:spMk id="48" creationId="{36C29F3A-8516-44CE-8C66-B51F2F37DA86}"/>
          </ac:spMkLst>
        </pc:spChg>
        <pc:spChg chg="mod">
          <ac:chgData name="Jacob, Karen (SPAC/PSPC) (elle-la / she-her)" userId="66e9cce0-e37b-4645-a907-f7690bd68dfb" providerId="ADAL" clId="{871AC57A-6E3B-4D85-BA02-8D6F5065EA89}" dt="2024-06-21T14:25:05.486" v="2810" actId="20577"/>
          <ac:spMkLst>
            <pc:docMk/>
            <pc:sldMk cId="986189170" sldId="393"/>
            <ac:spMk id="49" creationId="{78CC5D01-D6DD-4F92-AA98-55AB1B20A00F}"/>
          </ac:spMkLst>
        </pc:spChg>
        <pc:spChg chg="mod">
          <ac:chgData name="Jacob, Karen (SPAC/PSPC) (elle-la / she-her)" userId="66e9cce0-e37b-4645-a907-f7690bd68dfb" providerId="ADAL" clId="{871AC57A-6E3B-4D85-BA02-8D6F5065EA89}" dt="2024-06-21T14:51:42.531" v="3593" actId="20577"/>
          <ac:spMkLst>
            <pc:docMk/>
            <pc:sldMk cId="986189170" sldId="393"/>
            <ac:spMk id="50" creationId="{DE50AACE-0335-48A5-BAF4-47E45007D9DC}"/>
          </ac:spMkLst>
        </pc:spChg>
        <pc:grpChg chg="mod">
          <ac:chgData name="Jacob, Karen (SPAC/PSPC) (elle-la / she-her)" userId="66e9cce0-e37b-4645-a907-f7690bd68dfb" providerId="ADAL" clId="{871AC57A-6E3B-4D85-BA02-8D6F5065EA89}" dt="2024-06-21T15:27:24.701" v="4710" actId="1076"/>
          <ac:grpSpMkLst>
            <pc:docMk/>
            <pc:sldMk cId="986189170" sldId="393"/>
            <ac:grpSpMk id="39" creationId="{C2191868-CCF5-4452-B018-92CA700DC7A2}"/>
          </ac:grpSpMkLst>
        </pc:grpChg>
      </pc:sldChg>
      <pc:sldChg chg="modSp mod delCm modCm">
        <pc:chgData name="Jacob, Karen (SPAC/PSPC) (elle-la / she-her)" userId="66e9cce0-e37b-4645-a907-f7690bd68dfb" providerId="ADAL" clId="{871AC57A-6E3B-4D85-BA02-8D6F5065EA89}" dt="2024-06-21T14:47:59.360" v="3357" actId="6549"/>
        <pc:sldMkLst>
          <pc:docMk/>
          <pc:sldMk cId="3291831031" sldId="4970"/>
        </pc:sldMkLst>
        <pc:spChg chg="mod">
          <ac:chgData name="Jacob, Karen (SPAC/PSPC) (elle-la / she-her)" userId="66e9cce0-e37b-4645-a907-f7690bd68dfb" providerId="ADAL" clId="{871AC57A-6E3B-4D85-BA02-8D6F5065EA89}" dt="2024-06-21T14:47:59.360" v="3357" actId="6549"/>
          <ac:spMkLst>
            <pc:docMk/>
            <pc:sldMk cId="3291831031" sldId="4970"/>
            <ac:spMk id="2" creationId="{C74025A8-BF11-4E8B-9432-F1A9787EEC2E}"/>
          </ac:spMkLst>
        </pc:spChg>
        <pc:spChg chg="mod">
          <ac:chgData name="Jacob, Karen (SPAC/PSPC) (elle-la / she-her)" userId="66e9cce0-e37b-4645-a907-f7690bd68dfb" providerId="ADAL" clId="{871AC57A-6E3B-4D85-BA02-8D6F5065EA89}" dt="2024-06-21T13:27:50.202" v="1385" actId="20577"/>
          <ac:spMkLst>
            <pc:docMk/>
            <pc:sldMk cId="3291831031" sldId="4970"/>
            <ac:spMk id="6" creationId="{1E046C2E-5794-1A98-BBEA-235FF863B218}"/>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871AC57A-6E3B-4D85-BA02-8D6F5065EA89}" dt="2024-06-21T13:26:57.408" v="1337"/>
              <pc2:cmMkLst xmlns:pc2="http://schemas.microsoft.com/office/powerpoint/2019/9/main/command">
                <pc:docMk/>
                <pc:sldMk cId="3291831031" sldId="4970"/>
                <pc2:cmMk id="{2025D868-EAE7-453C-BECC-1981833F9191}"/>
              </pc2:cmMkLst>
            </pc226:cmChg>
          </p:ext>
        </pc:extLst>
      </pc:sldChg>
      <pc:sldChg chg="addCm delCm modCm">
        <pc:chgData name="Jacob, Karen (SPAC/PSPC) (elle-la / she-her)" userId="66e9cce0-e37b-4645-a907-f7690bd68dfb" providerId="ADAL" clId="{871AC57A-6E3B-4D85-BA02-8D6F5065EA89}" dt="2024-06-04T20:14:37.069" v="76"/>
        <pc:sldMkLst>
          <pc:docMk/>
          <pc:sldMk cId="4155933925" sldId="4984"/>
        </pc:sldMkLst>
        <pc:extLst>
          <p:ext xmlns:p="http://schemas.openxmlformats.org/presentationml/2006/main" uri="{D6D511B9-2390-475A-947B-AFAB55BFBCF1}">
            <pc226:cmChg xmlns:pc226="http://schemas.microsoft.com/office/powerpoint/2022/06/main/command" chg="">
              <pc226:chgData name="Jacob, Karen (SPAC/PSPC) (elle-la / she-her)" userId="66e9cce0-e37b-4645-a907-f7690bd68dfb" providerId="ADAL" clId="{871AC57A-6E3B-4D85-BA02-8D6F5065EA89}" dt="2024-06-04T20:14:30.484" v="75"/>
              <pc2:cmMkLst xmlns:pc2="http://schemas.microsoft.com/office/powerpoint/2019/9/main/command">
                <pc:docMk/>
                <pc:sldMk cId="4155933925" sldId="4984"/>
                <pc2:cmMk id="{65D6F518-B3A5-41F4-BB91-094F93D09B64}"/>
              </pc2:cmMkLst>
              <pc226:cmRplyChg chg="add">
                <pc226:chgData name="Jacob, Karen (SPAC/PSPC) (elle-la / she-her)" userId="66e9cce0-e37b-4645-a907-f7690bd68dfb" providerId="ADAL" clId="{871AC57A-6E3B-4D85-BA02-8D6F5065EA89}" dt="2024-06-04T20:14:30.484" v="75"/>
                <pc2:cmRplyMkLst xmlns:pc2="http://schemas.microsoft.com/office/powerpoint/2019/9/main/command">
                  <pc:docMk/>
                  <pc:sldMk cId="4155933925" sldId="4984"/>
                  <pc2:cmMk id="{65D6F518-B3A5-41F4-BB91-094F93D09B64}"/>
                  <pc2:cmRplyMk id="{39D276F6-9CD1-4872-A380-67D257E5D3AD}"/>
                </pc2:cmRplyMkLst>
              </pc226:cmRplyChg>
            </pc226:cmChg>
            <pc226:cmChg xmlns:pc226="http://schemas.microsoft.com/office/powerpoint/2022/06/main/command" chg="add del">
              <pc226:chgData name="Jacob, Karen (SPAC/PSPC) (elle-la / she-her)" userId="66e9cce0-e37b-4645-a907-f7690bd68dfb" providerId="ADAL" clId="{871AC57A-6E3B-4D85-BA02-8D6F5065EA89}" dt="2024-06-04T20:14:37.069" v="76"/>
              <pc2:cmMkLst xmlns:pc2="http://schemas.microsoft.com/office/powerpoint/2019/9/main/command">
                <pc:docMk/>
                <pc:sldMk cId="4155933925" sldId="4984"/>
                <pc2:cmMk id="{4D93B2F6-7E8A-4BB7-B8E1-085D9D74230F}"/>
              </pc2:cmMkLst>
            </pc226:cmChg>
          </p:ext>
        </pc:extLst>
      </pc:sldChg>
      <pc:sldChg chg="modSp mod delCm">
        <pc:chgData name="Jacob, Karen (SPAC/PSPC) (elle-la / she-her)" userId="66e9cce0-e37b-4645-a907-f7690bd68dfb" providerId="ADAL" clId="{871AC57A-6E3B-4D85-BA02-8D6F5065EA89}" dt="2024-06-21T12:35:59.091" v="155" actId="20577"/>
        <pc:sldMkLst>
          <pc:docMk/>
          <pc:sldMk cId="625183133" sldId="4986"/>
        </pc:sldMkLst>
        <pc:spChg chg="mod">
          <ac:chgData name="Jacob, Karen (SPAC/PSPC) (elle-la / she-her)" userId="66e9cce0-e37b-4645-a907-f7690bd68dfb" providerId="ADAL" clId="{871AC57A-6E3B-4D85-BA02-8D6F5065EA89}" dt="2024-06-21T12:35:59.091" v="155" actId="20577"/>
          <ac:spMkLst>
            <pc:docMk/>
            <pc:sldMk cId="625183133" sldId="4986"/>
            <ac:spMk id="3" creationId="{CC8B02F3-0C27-03C9-5D56-EC07236B6660}"/>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04T19:59:33.021" v="30"/>
              <pc2:cmMkLst xmlns:pc2="http://schemas.microsoft.com/office/powerpoint/2019/9/main/command">
                <pc:docMk/>
                <pc:sldMk cId="625183133" sldId="4986"/>
                <pc2:cmMk id="{1B26C75B-876F-48AD-9E22-A2C57F3DA19A}"/>
              </pc2:cmMkLst>
            </pc226:cmChg>
          </p:ext>
        </pc:extLst>
      </pc:sldChg>
      <pc:sldChg chg="delCm modCm">
        <pc:chgData name="Jacob, Karen (SPAC/PSPC) (elle-la / she-her)" userId="66e9cce0-e37b-4645-a907-f7690bd68dfb" providerId="ADAL" clId="{871AC57A-6E3B-4D85-BA02-8D6F5065EA89}" dt="2024-06-04T20:15:59.597" v="79"/>
        <pc:sldMkLst>
          <pc:docMk/>
          <pc:sldMk cId="3586646843" sldId="4988"/>
        </pc:sldMkLst>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15:59.597" v="79"/>
              <pc2:cmMkLst xmlns:pc2="http://schemas.microsoft.com/office/powerpoint/2019/9/main/command">
                <pc:docMk/>
                <pc:sldMk cId="3586646843" sldId="4988"/>
                <pc2:cmMk id="{40E56E7B-BFF7-459D-A9B0-95CA3CD398EC}"/>
              </pc2:cmMkLst>
              <pc226:cmRplyChg chg="del">
                <pc226:chgData name="Jacob, Karen (SPAC/PSPC) (elle-la / she-her)" userId="66e9cce0-e37b-4645-a907-f7690bd68dfb" providerId="ADAL" clId="{871AC57A-6E3B-4D85-BA02-8D6F5065EA89}" dt="2024-06-04T20:15:59.597" v="79"/>
                <pc2:cmRplyMkLst xmlns:pc2="http://schemas.microsoft.com/office/powerpoint/2019/9/main/command">
                  <pc:docMk/>
                  <pc:sldMk cId="3586646843" sldId="4988"/>
                  <pc2:cmMk id="{40E56E7B-BFF7-459D-A9B0-95CA3CD398EC}"/>
                  <pc2:cmRplyMk id="{F6885D90-08EB-48FF-B680-46F700B39EDC}"/>
                </pc2:cmRplyMkLst>
              </pc226:cmRplyChg>
            </pc226:cmChg>
            <pc226:cmChg xmlns:pc226="http://schemas.microsoft.com/office/powerpoint/2022/06/main/command" chg="del">
              <pc226:chgData name="Jacob, Karen (SPAC/PSPC) (elle-la / she-her)" userId="66e9cce0-e37b-4645-a907-f7690bd68dfb" providerId="ADAL" clId="{871AC57A-6E3B-4D85-BA02-8D6F5065EA89}" dt="2024-06-04T20:15:09.593" v="77"/>
              <pc2:cmMkLst xmlns:pc2="http://schemas.microsoft.com/office/powerpoint/2019/9/main/command">
                <pc:docMk/>
                <pc:sldMk cId="3586646843" sldId="4988"/>
                <pc2:cmMk id="{9B1D0092-CC1B-421C-813E-D08E625F0EBC}"/>
              </pc2:cmMkLst>
            </pc226:cmChg>
          </p:ext>
        </pc:extLst>
      </pc:sldChg>
      <pc:sldChg chg="addCm modCm">
        <pc:chgData name="Jacob, Karen (SPAC/PSPC) (elle-la / she-her)" userId="66e9cce0-e37b-4645-a907-f7690bd68dfb" providerId="ADAL" clId="{871AC57A-6E3B-4D85-BA02-8D6F5065EA89}" dt="2024-06-04T20:12:58.344" v="74"/>
        <pc:sldMkLst>
          <pc:docMk/>
          <pc:sldMk cId="2433718045" sldId="4989"/>
        </pc:sldMkLst>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4T20:12:58.344" v="74"/>
              <pc2:cmMkLst xmlns:pc2="http://schemas.microsoft.com/office/powerpoint/2019/9/main/command">
                <pc:docMk/>
                <pc:sldMk cId="2433718045" sldId="4989"/>
                <pc2:cmMk id="{D0197CB9-1180-49B5-A3DF-B9537F0CCDB4}"/>
              </pc2:cmMkLst>
            </pc226:cmChg>
            <pc226:cmChg xmlns:pc226="http://schemas.microsoft.com/office/powerpoint/2022/06/main/command" chg="mod">
              <pc226:chgData name="Jacob, Karen (SPAC/PSPC) (elle-la / she-her)" userId="66e9cce0-e37b-4645-a907-f7690bd68dfb" providerId="ADAL" clId="{871AC57A-6E3B-4D85-BA02-8D6F5065EA89}" dt="2024-06-04T20:11:45.648" v="73"/>
              <pc2:cmMkLst xmlns:pc2="http://schemas.microsoft.com/office/powerpoint/2019/9/main/command">
                <pc:docMk/>
                <pc:sldMk cId="2433718045" sldId="4989"/>
                <pc2:cmMk id="{4CC7B8F1-3568-42F1-9669-AEAFF5D3D4BB}"/>
              </pc2:cmMkLst>
              <pc226:cmRplyChg chg="del">
                <pc226:chgData name="Jacob, Karen (SPAC/PSPC) (elle-la / she-her)" userId="66e9cce0-e37b-4645-a907-f7690bd68dfb" providerId="ADAL" clId="{871AC57A-6E3B-4D85-BA02-8D6F5065EA89}" dt="2024-06-04T20:11:45.648" v="73"/>
                <pc2:cmRplyMkLst xmlns:pc2="http://schemas.microsoft.com/office/powerpoint/2019/9/main/command">
                  <pc:docMk/>
                  <pc:sldMk cId="2433718045" sldId="4989"/>
                  <pc2:cmMk id="{4CC7B8F1-3568-42F1-9669-AEAFF5D3D4BB}"/>
                  <pc2:cmRplyMk id="{9C449CA2-36E8-4094-BA68-102A7D2D0525}"/>
                </pc2:cmRplyMkLst>
              </pc226:cmRplyChg>
            </pc226:cmChg>
          </p:ext>
        </pc:extLst>
      </pc:sldChg>
      <pc:sldChg chg="modSp mod ord modCm">
        <pc:chgData name="Jacob, Karen (SPAC/PSPC) (elle-la / she-her)" userId="66e9cce0-e37b-4645-a907-f7690bd68dfb" providerId="ADAL" clId="{871AC57A-6E3B-4D85-BA02-8D6F5065EA89}" dt="2024-06-21T15:18:48.693" v="4374"/>
        <pc:sldMkLst>
          <pc:docMk/>
          <pc:sldMk cId="3675530289" sldId="4990"/>
        </pc:sldMkLst>
        <pc:spChg chg="mod">
          <ac:chgData name="Jacob, Karen (SPAC/PSPC) (elle-la / she-her)" userId="66e9cce0-e37b-4645-a907-f7690bd68dfb" providerId="ADAL" clId="{871AC57A-6E3B-4D85-BA02-8D6F5065EA89}" dt="2024-06-21T14:26:02.275" v="2815" actId="14100"/>
          <ac:spMkLst>
            <pc:docMk/>
            <pc:sldMk cId="3675530289" sldId="4990"/>
            <ac:spMk id="3" creationId="{850EFA27-BB7E-A97B-CC4E-5CD87E1BCE56}"/>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22:45.226" v="86"/>
              <pc2:cmMkLst xmlns:pc2="http://schemas.microsoft.com/office/powerpoint/2019/9/main/command">
                <pc:docMk/>
                <pc:sldMk cId="3675530289" sldId="4990"/>
                <pc2:cmMk id="{A671E939-DC8C-4E10-9919-42392E18B6FD}"/>
              </pc2:cmMkLst>
              <pc226:cmRplyChg chg="add">
                <pc226:chgData name="Jacob, Karen (SPAC/PSPC) (elle-la / she-her)" userId="66e9cce0-e37b-4645-a907-f7690bd68dfb" providerId="ADAL" clId="{871AC57A-6E3B-4D85-BA02-8D6F5065EA89}" dt="2024-06-04T20:22:45.226" v="86"/>
                <pc2:cmRplyMkLst xmlns:pc2="http://schemas.microsoft.com/office/powerpoint/2019/9/main/command">
                  <pc:docMk/>
                  <pc:sldMk cId="3675530289" sldId="4990"/>
                  <pc2:cmMk id="{A671E939-DC8C-4E10-9919-42392E18B6FD}"/>
                  <pc2:cmRplyMk id="{9E3CE418-3C4E-4134-9024-0561D7888A57}"/>
                </pc2:cmRplyMkLst>
              </pc226:cmRplyChg>
            </pc226:cmChg>
          </p:ext>
        </pc:extLst>
      </pc:sldChg>
      <pc:sldChg chg="modSp mod modShow addCm delCm modCm modNotesTx">
        <pc:chgData name="Jacob, Karen (SPAC/PSPC) (elle-la / she-her)" userId="66e9cce0-e37b-4645-a907-f7690bd68dfb" providerId="ADAL" clId="{871AC57A-6E3B-4D85-BA02-8D6F5065EA89}" dt="2024-06-21T14:50:51.848" v="3581" actId="729"/>
        <pc:sldMkLst>
          <pc:docMk/>
          <pc:sldMk cId="3633628159" sldId="4991"/>
        </pc:sldMkLst>
        <pc:spChg chg="mod">
          <ac:chgData name="Jacob, Karen (SPAC/PSPC) (elle-la / she-her)" userId="66e9cce0-e37b-4645-a907-f7690bd68dfb" providerId="ADAL" clId="{871AC57A-6E3B-4D85-BA02-8D6F5065EA89}" dt="2024-06-03T19:58:20.052" v="8"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add del">
              <pc226:chgData name="Jacob, Karen (SPAC/PSPC) (elle-la / she-her)" userId="66e9cce0-e37b-4645-a907-f7690bd68dfb" providerId="ADAL" clId="{871AC57A-6E3B-4D85-BA02-8D6F5065EA89}" dt="2024-06-04T20:18:17.607" v="82"/>
              <pc2:cmMkLst xmlns:pc2="http://schemas.microsoft.com/office/powerpoint/2019/9/main/command">
                <pc:docMk/>
                <pc:sldMk cId="3633628159" sldId="4991"/>
                <pc2:cmMk id="{7CDBA360-FAA6-49D3-9257-E9A72765AABD}"/>
              </pc2:cmMkLst>
            </pc226:cmChg>
            <pc226:cmChg xmlns:pc226="http://schemas.microsoft.com/office/powerpoint/2022/06/main/command" chg="mod">
              <pc226:chgData name="Jacob, Karen (SPAC/PSPC) (elle-la / she-her)" userId="66e9cce0-e37b-4645-a907-f7690bd68dfb" providerId="ADAL" clId="{871AC57A-6E3B-4D85-BA02-8D6F5065EA89}" dt="2024-06-04T20:20:29.976" v="84"/>
              <pc2:cmMkLst xmlns:pc2="http://schemas.microsoft.com/office/powerpoint/2019/9/main/command">
                <pc:docMk/>
                <pc:sldMk cId="3633628159" sldId="4991"/>
                <pc2:cmMk id="{D2CE9BCC-9530-493F-BC3F-9D47F64F0084}"/>
              </pc2:cmMkLst>
            </pc226:cmChg>
            <pc226:cmChg xmlns:pc226="http://schemas.microsoft.com/office/powerpoint/2022/06/main/command" chg="del">
              <pc226:chgData name="Jacob, Karen (SPAC/PSPC) (elle-la / she-her)" userId="66e9cce0-e37b-4645-a907-f7690bd68dfb" providerId="ADAL" clId="{871AC57A-6E3B-4D85-BA02-8D6F5065EA89}" dt="2024-06-04T20:18:19.881" v="83"/>
              <pc2:cmMkLst xmlns:pc2="http://schemas.microsoft.com/office/powerpoint/2019/9/main/command">
                <pc:docMk/>
                <pc:sldMk cId="3633628159" sldId="4991"/>
                <pc2:cmMk id="{075498D0-E803-4B79-ACEB-CF432821BD07}"/>
              </pc2:cmMkLst>
            </pc226:cmChg>
          </p:ext>
        </pc:extLst>
      </pc:sldChg>
      <pc:sldChg chg="modSp mod addCm delCm">
        <pc:chgData name="Jacob, Karen (SPAC/PSPC) (elle-la / she-her)" userId="66e9cce0-e37b-4645-a907-f7690bd68dfb" providerId="ADAL" clId="{871AC57A-6E3B-4D85-BA02-8D6F5065EA89}" dt="2024-06-21T20:09:11.407" v="5547" actId="20577"/>
        <pc:sldMkLst>
          <pc:docMk/>
          <pc:sldMk cId="388099589" sldId="4992"/>
        </pc:sldMkLst>
        <pc:spChg chg="mod">
          <ac:chgData name="Jacob, Karen (SPAC/PSPC) (elle-la / she-her)" userId="66e9cce0-e37b-4645-a907-f7690bd68dfb" providerId="ADAL" clId="{871AC57A-6E3B-4D85-BA02-8D6F5065EA89}" dt="2024-06-21T20:09:11.407" v="5547" actId="20577"/>
          <ac:spMkLst>
            <pc:docMk/>
            <pc:sldMk cId="388099589" sldId="4992"/>
            <ac:spMk id="15" creationId="{2A224E51-C8E2-AF04-0A70-65F6548C9FA5}"/>
          </ac:spMkLst>
        </pc:spChg>
        <pc:spChg chg="mod">
          <ac:chgData name="Jacob, Karen (SPAC/PSPC) (elle-la / she-her)" userId="66e9cce0-e37b-4645-a907-f7690bd68dfb" providerId="ADAL" clId="{871AC57A-6E3B-4D85-BA02-8D6F5065EA89}" dt="2024-06-21T15:26:39.443" v="4690" actId="1076"/>
          <ac:spMkLst>
            <pc:docMk/>
            <pc:sldMk cId="388099589" sldId="4992"/>
            <ac:spMk id="16" creationId="{DDBAA832-5D5B-F155-4F32-06C89A6062D9}"/>
          </ac:spMkLst>
        </pc:spChg>
        <pc:spChg chg="mod">
          <ac:chgData name="Jacob, Karen (SPAC/PSPC) (elle-la / she-her)" userId="66e9cce0-e37b-4645-a907-f7690bd68dfb" providerId="ADAL" clId="{871AC57A-6E3B-4D85-BA02-8D6F5065EA89}" dt="2024-06-21T15:26:34.866" v="4688" actId="1076"/>
          <ac:spMkLst>
            <pc:docMk/>
            <pc:sldMk cId="388099589" sldId="4992"/>
            <ac:spMk id="17" creationId="{03D46260-31B6-3CBA-D6E4-2A34CD363B83}"/>
          </ac:spMkLst>
        </pc:spChg>
        <pc:spChg chg="mod">
          <ac:chgData name="Jacob, Karen (SPAC/PSPC) (elle-la / she-her)" userId="66e9cce0-e37b-4645-a907-f7690bd68dfb" providerId="ADAL" clId="{871AC57A-6E3B-4D85-BA02-8D6F5065EA89}" dt="2024-06-21T15:26:44.280" v="4692" actId="1076"/>
          <ac:spMkLst>
            <pc:docMk/>
            <pc:sldMk cId="388099589" sldId="4992"/>
            <ac:spMk id="18" creationId="{4EF912C3-D6D2-8ADB-9455-F0BB3EFD9484}"/>
          </ac:spMkLst>
        </pc:spChg>
        <pc:spChg chg="mod">
          <ac:chgData name="Jacob, Karen (SPAC/PSPC) (elle-la / she-her)" userId="66e9cce0-e37b-4645-a907-f7690bd68dfb" providerId="ADAL" clId="{871AC57A-6E3B-4D85-BA02-8D6F5065EA89}" dt="2024-06-21T14:29:24.732" v="2847" actId="1036"/>
          <ac:spMkLst>
            <pc:docMk/>
            <pc:sldMk cId="388099589" sldId="4992"/>
            <ac:spMk id="19" creationId="{5DABBC32-D0F2-5FB4-F32B-6ACB5C70FCBB}"/>
          </ac:spMkLst>
        </pc:spChg>
        <pc:picChg chg="mod">
          <ac:chgData name="Jacob, Karen (SPAC/PSPC) (elle-la / she-her)" userId="66e9cce0-e37b-4645-a907-f7690bd68dfb" providerId="ADAL" clId="{871AC57A-6E3B-4D85-BA02-8D6F5065EA89}" dt="2024-06-21T14:29:24.732" v="2847" actId="1036"/>
          <ac:picMkLst>
            <pc:docMk/>
            <pc:sldMk cId="388099589" sldId="4992"/>
            <ac:picMk id="9" creationId="{CFECC87B-723E-8826-6C4D-682E01302215}"/>
          </ac:picMkLst>
        </pc:picChg>
        <pc:picChg chg="mod">
          <ac:chgData name="Jacob, Karen (SPAC/PSPC) (elle-la / she-her)" userId="66e9cce0-e37b-4645-a907-f7690bd68dfb" providerId="ADAL" clId="{871AC57A-6E3B-4D85-BA02-8D6F5065EA89}" dt="2024-06-21T15:26:41.350" v="4691" actId="1076"/>
          <ac:picMkLst>
            <pc:docMk/>
            <pc:sldMk cId="388099589" sldId="4992"/>
            <ac:picMk id="10" creationId="{EE1B7117-FE8F-8104-AF1D-A9871CD54FDE}"/>
          </ac:picMkLst>
        </pc:picChg>
        <pc:picChg chg="mod">
          <ac:chgData name="Jacob, Karen (SPAC/PSPC) (elle-la / she-her)" userId="66e9cce0-e37b-4645-a907-f7690bd68dfb" providerId="ADAL" clId="{871AC57A-6E3B-4D85-BA02-8D6F5065EA89}" dt="2024-06-21T15:26:31.593" v="4687" actId="1076"/>
          <ac:picMkLst>
            <pc:docMk/>
            <pc:sldMk cId="388099589" sldId="4992"/>
            <ac:picMk id="11" creationId="{0A95C047-D6CC-A24A-9FFE-34EA9062B06B}"/>
          </ac:picMkLst>
        </pc:picChg>
        <pc:picChg chg="mod">
          <ac:chgData name="Jacob, Karen (SPAC/PSPC) (elle-la / she-her)" userId="66e9cce0-e37b-4645-a907-f7690bd68dfb" providerId="ADAL" clId="{871AC57A-6E3B-4D85-BA02-8D6F5065EA89}" dt="2024-06-21T15:26:36.539" v="4689" actId="1076"/>
          <ac:picMkLst>
            <pc:docMk/>
            <pc:sldMk cId="388099589" sldId="4992"/>
            <ac:picMk id="13" creationId="{1BFE9BF1-5E6A-A995-0D24-DB7A9C3633D8}"/>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4:28:43.139" v="2817"/>
              <pc2:cmMkLst xmlns:pc2="http://schemas.microsoft.com/office/powerpoint/2019/9/main/command">
                <pc:docMk/>
                <pc:sldMk cId="388099589" sldId="4992"/>
                <pc2:cmMk id="{58314914-A9CA-416C-8B5D-44370B25C734}"/>
              </pc2:cmMkLst>
            </pc226:cmChg>
            <pc226:cmChg xmlns:pc226="http://schemas.microsoft.com/office/powerpoint/2022/06/main/command" chg="add del">
              <pc226:chgData name="Jacob, Karen (SPAC/PSPC) (elle-la / she-her)" userId="66e9cce0-e37b-4645-a907-f7690bd68dfb" providerId="ADAL" clId="{871AC57A-6E3B-4D85-BA02-8D6F5065EA89}" dt="2024-06-21T14:28:40.698" v="2816"/>
              <pc2:cmMkLst xmlns:pc2="http://schemas.microsoft.com/office/powerpoint/2019/9/main/command">
                <pc:docMk/>
                <pc:sldMk cId="388099589" sldId="4992"/>
                <pc2:cmMk id="{6D9A32E1-5F54-41B1-AAD7-FA271C53AFFB}"/>
              </pc2:cmMkLst>
            </pc226:cmChg>
          </p:ext>
        </pc:extLst>
      </pc:sldChg>
      <pc:sldChg chg="modSp mod modCm">
        <pc:chgData name="Jacob, Karen (SPAC/PSPC) (elle-la / she-her)" userId="66e9cce0-e37b-4645-a907-f7690bd68dfb" providerId="ADAL" clId="{871AC57A-6E3B-4D85-BA02-8D6F5065EA89}" dt="2024-06-21T15:27:52.079" v="4714" actId="20577"/>
        <pc:sldMkLst>
          <pc:docMk/>
          <pc:sldMk cId="3248544414" sldId="4993"/>
        </pc:sldMkLst>
        <pc:spChg chg="mod">
          <ac:chgData name="Jacob, Karen (SPAC/PSPC) (elle-la / she-her)" userId="66e9cce0-e37b-4645-a907-f7690bd68dfb" providerId="ADAL" clId="{871AC57A-6E3B-4D85-BA02-8D6F5065EA89}" dt="2024-06-21T15:27:52.079" v="4714" actId="20577"/>
          <ac:spMkLst>
            <pc:docMk/>
            <pc:sldMk cId="3248544414" sldId="4993"/>
            <ac:spMk id="8" creationId="{96EFBFBE-8CD7-D471-D8B0-8D13BB75ECC5}"/>
          </ac:spMkLst>
        </pc:spChg>
        <pc:spChg chg="mod">
          <ac:chgData name="Jacob, Karen (SPAC/PSPC) (elle-la / she-her)" userId="66e9cce0-e37b-4645-a907-f7690bd68dfb" providerId="ADAL" clId="{871AC57A-6E3B-4D85-BA02-8D6F5065EA89}" dt="2024-06-21T15:27:44.996" v="4712" actId="20577"/>
          <ac:spMkLst>
            <pc:docMk/>
            <pc:sldMk cId="3248544414" sldId="4993"/>
            <ac:spMk id="11" creationId="{3F9CB8D4-6144-CAF9-0CC6-38351C152F7F}"/>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21T15:27:52.079" v="4714" actId="20577"/>
              <pc2:cmMkLst xmlns:pc2="http://schemas.microsoft.com/office/powerpoint/2019/9/main/command">
                <pc:docMk/>
                <pc:sldMk cId="3248544414" sldId="4993"/>
                <pc2:cmMk id="{5A464C9B-BE0B-42A6-A2F8-517F7FBC4DD8}"/>
              </pc2:cmMkLst>
            </pc226:cmChg>
          </p:ext>
        </pc:extLst>
      </pc:sldChg>
      <pc:sldChg chg="addSp delSp modSp mod addCm delCm modCm modNotesTx">
        <pc:chgData name="Jacob, Karen (SPAC/PSPC) (elle-la / she-her)" userId="66e9cce0-e37b-4645-a907-f7690bd68dfb" providerId="ADAL" clId="{871AC57A-6E3B-4D85-BA02-8D6F5065EA89}" dt="2024-07-09T17:24:13.324" v="7149" actId="20577"/>
        <pc:sldMkLst>
          <pc:docMk/>
          <pc:sldMk cId="581567723" sldId="4998"/>
        </pc:sldMkLst>
        <pc:spChg chg="mod">
          <ac:chgData name="Jacob, Karen (SPAC/PSPC) (elle-la / she-her)" userId="66e9cce0-e37b-4645-a907-f7690bd68dfb" providerId="ADAL" clId="{871AC57A-6E3B-4D85-BA02-8D6F5065EA89}" dt="2024-06-21T12:40:45.599" v="325" actId="20577"/>
          <ac:spMkLst>
            <pc:docMk/>
            <pc:sldMk cId="581567723" sldId="4998"/>
            <ac:spMk id="2" creationId="{9DE119AA-C27C-1F93-8533-D6E1F56A43A8}"/>
          </ac:spMkLst>
        </pc:spChg>
        <pc:spChg chg="add mod">
          <ac:chgData name="Jacob, Karen (SPAC/PSPC) (elle-la / she-her)" userId="66e9cce0-e37b-4645-a907-f7690bd68dfb" providerId="ADAL" clId="{871AC57A-6E3B-4D85-BA02-8D6F5065EA89}" dt="2024-07-09T17:24:13.324" v="7149" actId="20577"/>
          <ac:spMkLst>
            <pc:docMk/>
            <pc:sldMk cId="581567723" sldId="4998"/>
            <ac:spMk id="3" creationId="{B4C4C6A1-95F9-4595-D5F9-6FBFE059FF64}"/>
          </ac:spMkLst>
        </pc:spChg>
        <pc:spChg chg="mod">
          <ac:chgData name="Jacob, Karen (SPAC/PSPC) (elle-la / she-her)" userId="66e9cce0-e37b-4645-a907-f7690bd68dfb" providerId="ADAL" clId="{871AC57A-6E3B-4D85-BA02-8D6F5065EA89}" dt="2024-06-04T20:07:42.046" v="65" actId="1076"/>
          <ac:spMkLst>
            <pc:docMk/>
            <pc:sldMk cId="581567723" sldId="4998"/>
            <ac:spMk id="3" creationId="{DCB1C657-83E0-7559-CD35-A0F89A43A85C}"/>
          </ac:spMkLst>
        </pc:spChg>
        <pc:spChg chg="add mod">
          <ac:chgData name="Jacob, Karen (SPAC/PSPC) (elle-la / she-her)" userId="66e9cce0-e37b-4645-a907-f7690bd68dfb" providerId="ADAL" clId="{871AC57A-6E3B-4D85-BA02-8D6F5065EA89}" dt="2024-06-04T20:03:30.484" v="31"/>
          <ac:spMkLst>
            <pc:docMk/>
            <pc:sldMk cId="581567723" sldId="4998"/>
            <ac:spMk id="5" creationId="{D7D606A5-4CCA-4EE2-B0C8-0CA55D765A08}"/>
          </ac:spMkLst>
        </pc:spChg>
        <pc:spChg chg="add mod">
          <ac:chgData name="Jacob, Karen (SPAC/PSPC) (elle-la / she-her)" userId="66e9cce0-e37b-4645-a907-f7690bd68dfb" providerId="ADAL" clId="{871AC57A-6E3B-4D85-BA02-8D6F5065EA89}" dt="2024-06-04T20:03:30.484" v="31"/>
          <ac:spMkLst>
            <pc:docMk/>
            <pc:sldMk cId="581567723" sldId="4998"/>
            <ac:spMk id="6" creationId="{5E7528B7-A946-46F0-B669-8F935D7F6EBA}"/>
          </ac:spMkLst>
        </pc:spChg>
        <pc:spChg chg="add del mod">
          <ac:chgData name="Jacob, Karen (SPAC/PSPC) (elle-la / she-her)" userId="66e9cce0-e37b-4645-a907-f7690bd68dfb" providerId="ADAL" clId="{871AC57A-6E3B-4D85-BA02-8D6F5065EA89}" dt="2024-06-04T20:03:42.424" v="33" actId="478"/>
          <ac:spMkLst>
            <pc:docMk/>
            <pc:sldMk cId="581567723" sldId="4998"/>
            <ac:spMk id="9" creationId="{02102EB1-628A-A228-F405-4E0BAB36D0C8}"/>
          </ac:spMkLst>
        </pc:spChg>
        <pc:spChg chg="add del mod">
          <ac:chgData name="Jacob, Karen (SPAC/PSPC) (elle-la / she-her)" userId="66e9cce0-e37b-4645-a907-f7690bd68dfb" providerId="ADAL" clId="{871AC57A-6E3B-4D85-BA02-8D6F5065EA89}" dt="2024-06-04T20:04:03.767" v="36" actId="478"/>
          <ac:spMkLst>
            <pc:docMk/>
            <pc:sldMk cId="581567723" sldId="4998"/>
            <ac:spMk id="10" creationId="{B7478A55-5DE0-5172-A55E-4C69C69AA1B9}"/>
          </ac:spMkLst>
        </pc:spChg>
        <pc:spChg chg="add mod">
          <ac:chgData name="Jacob, Karen (SPAC/PSPC) (elle-la / she-her)" userId="66e9cce0-e37b-4645-a907-f7690bd68dfb" providerId="ADAL" clId="{871AC57A-6E3B-4D85-BA02-8D6F5065EA89}" dt="2024-06-04T20:03:30.484" v="31"/>
          <ac:spMkLst>
            <pc:docMk/>
            <pc:sldMk cId="581567723" sldId="4998"/>
            <ac:spMk id="11" creationId="{39421339-8C2E-3166-AC3E-6B380BD6625E}"/>
          </ac:spMkLst>
        </pc:spChg>
        <pc:spChg chg="add del mod">
          <ac:chgData name="Jacob, Karen (SPAC/PSPC) (elle-la / she-her)" userId="66e9cce0-e37b-4645-a907-f7690bd68dfb" providerId="ADAL" clId="{871AC57A-6E3B-4D85-BA02-8D6F5065EA89}" dt="2024-06-04T20:03:59.068" v="35" actId="478"/>
          <ac:spMkLst>
            <pc:docMk/>
            <pc:sldMk cId="581567723" sldId="4998"/>
            <ac:spMk id="14" creationId="{241461F9-1C3F-24F1-C320-FF5EC4D96EE1}"/>
          </ac:spMkLst>
        </pc:spChg>
        <pc:spChg chg="add mod">
          <ac:chgData name="Jacob, Karen (SPAC/PSPC) (elle-la / she-her)" userId="66e9cce0-e37b-4645-a907-f7690bd68dfb" providerId="ADAL" clId="{871AC57A-6E3B-4D85-BA02-8D6F5065EA89}" dt="2024-06-04T20:03:30.484" v="31"/>
          <ac:spMkLst>
            <pc:docMk/>
            <pc:sldMk cId="581567723" sldId="4998"/>
            <ac:spMk id="17" creationId="{0181F1B8-8D47-47DE-9BBC-4D892AD996D2}"/>
          </ac:spMkLst>
        </pc:spChg>
        <pc:spChg chg="add mod">
          <ac:chgData name="Jacob, Karen (SPAC/PSPC) (elle-la / she-her)" userId="66e9cce0-e37b-4645-a907-f7690bd68dfb" providerId="ADAL" clId="{871AC57A-6E3B-4D85-BA02-8D6F5065EA89}" dt="2024-06-04T20:03:30.484" v="31"/>
          <ac:spMkLst>
            <pc:docMk/>
            <pc:sldMk cId="581567723" sldId="4998"/>
            <ac:spMk id="19" creationId="{EA3E678B-FB11-4429-813D-6664187F761A}"/>
          </ac:spMkLst>
        </pc:spChg>
        <pc:spChg chg="add mod">
          <ac:chgData name="Jacob, Karen (SPAC/PSPC) (elle-la / she-her)" userId="66e9cce0-e37b-4645-a907-f7690bd68dfb" providerId="ADAL" clId="{871AC57A-6E3B-4D85-BA02-8D6F5065EA89}" dt="2024-06-04T20:03:30.484" v="31"/>
          <ac:spMkLst>
            <pc:docMk/>
            <pc:sldMk cId="581567723" sldId="4998"/>
            <ac:spMk id="20" creationId="{A127293B-B7EF-4C87-938B-96289DEBD946}"/>
          </ac:spMkLst>
        </pc:spChg>
        <pc:spChg chg="add mod">
          <ac:chgData name="Jacob, Karen (SPAC/PSPC) (elle-la / she-her)" userId="66e9cce0-e37b-4645-a907-f7690bd68dfb" providerId="ADAL" clId="{871AC57A-6E3B-4D85-BA02-8D6F5065EA89}" dt="2024-06-04T20:03:30.484" v="31"/>
          <ac:spMkLst>
            <pc:docMk/>
            <pc:sldMk cId="581567723" sldId="4998"/>
            <ac:spMk id="22" creationId="{65CCA3A3-3BED-4876-9368-693E6DE8E80C}"/>
          </ac:spMkLst>
        </pc:spChg>
        <pc:spChg chg="add mod">
          <ac:chgData name="Jacob, Karen (SPAC/PSPC) (elle-la / she-her)" userId="66e9cce0-e37b-4645-a907-f7690bd68dfb" providerId="ADAL" clId="{871AC57A-6E3B-4D85-BA02-8D6F5065EA89}" dt="2024-06-04T20:03:30.484" v="31"/>
          <ac:spMkLst>
            <pc:docMk/>
            <pc:sldMk cId="581567723" sldId="4998"/>
            <ac:spMk id="23" creationId="{D990B6BF-6B95-4759-A584-1E4378D05941}"/>
          </ac:spMkLst>
        </pc:spChg>
        <pc:spChg chg="add mod">
          <ac:chgData name="Jacob, Karen (SPAC/PSPC) (elle-la / she-her)" userId="66e9cce0-e37b-4645-a907-f7690bd68dfb" providerId="ADAL" clId="{871AC57A-6E3B-4D85-BA02-8D6F5065EA89}" dt="2024-06-04T20:03:30.484" v="31"/>
          <ac:spMkLst>
            <pc:docMk/>
            <pc:sldMk cId="581567723" sldId="4998"/>
            <ac:spMk id="24" creationId="{FF95E0F3-F25E-49EB-8648-DD6D21CD77A4}"/>
          </ac:spMkLst>
        </pc:spChg>
        <pc:spChg chg="add mod">
          <ac:chgData name="Jacob, Karen (SPAC/PSPC) (elle-la / she-her)" userId="66e9cce0-e37b-4645-a907-f7690bd68dfb" providerId="ADAL" clId="{871AC57A-6E3B-4D85-BA02-8D6F5065EA89}" dt="2024-06-04T20:03:30.484" v="31"/>
          <ac:spMkLst>
            <pc:docMk/>
            <pc:sldMk cId="581567723" sldId="4998"/>
            <ac:spMk id="25" creationId="{43E9D117-1C24-4004-BB41-96BB8B96428F}"/>
          </ac:spMkLst>
        </pc:spChg>
        <pc:spChg chg="add mod">
          <ac:chgData name="Jacob, Karen (SPAC/PSPC) (elle-la / she-her)" userId="66e9cce0-e37b-4645-a907-f7690bd68dfb" providerId="ADAL" clId="{871AC57A-6E3B-4D85-BA02-8D6F5065EA89}" dt="2024-06-04T20:03:30.484" v="31"/>
          <ac:spMkLst>
            <pc:docMk/>
            <pc:sldMk cId="581567723" sldId="4998"/>
            <ac:spMk id="26" creationId="{3E1F8FA6-C3C0-45B2-8220-60E2BF8F5325}"/>
          </ac:spMkLst>
        </pc:spChg>
        <pc:spChg chg="add mod">
          <ac:chgData name="Jacob, Karen (SPAC/PSPC) (elle-la / she-her)" userId="66e9cce0-e37b-4645-a907-f7690bd68dfb" providerId="ADAL" clId="{871AC57A-6E3B-4D85-BA02-8D6F5065EA89}" dt="2024-06-04T20:03:30.484" v="31"/>
          <ac:spMkLst>
            <pc:docMk/>
            <pc:sldMk cId="581567723" sldId="4998"/>
            <ac:spMk id="27" creationId="{C09524D9-2310-4A6D-9FFA-6148D5908553}"/>
          </ac:spMkLst>
        </pc:spChg>
        <pc:spChg chg="add mod">
          <ac:chgData name="Jacob, Karen (SPAC/PSPC) (elle-la / she-her)" userId="66e9cce0-e37b-4645-a907-f7690bd68dfb" providerId="ADAL" clId="{871AC57A-6E3B-4D85-BA02-8D6F5065EA89}" dt="2024-06-04T20:03:30.484" v="31"/>
          <ac:spMkLst>
            <pc:docMk/>
            <pc:sldMk cId="581567723" sldId="4998"/>
            <ac:spMk id="28" creationId="{D1ABF3EE-DDF1-4928-AEEA-0E9F883BA2D0}"/>
          </ac:spMkLst>
        </pc:spChg>
        <pc:spChg chg="add mod">
          <ac:chgData name="Jacob, Karen (SPAC/PSPC) (elle-la / she-her)" userId="66e9cce0-e37b-4645-a907-f7690bd68dfb" providerId="ADAL" clId="{871AC57A-6E3B-4D85-BA02-8D6F5065EA89}" dt="2024-06-04T20:03:30.484" v="31"/>
          <ac:spMkLst>
            <pc:docMk/>
            <pc:sldMk cId="581567723" sldId="4998"/>
            <ac:spMk id="29" creationId="{1A31775B-8F18-4E3A-93BE-A05FF347D231}"/>
          </ac:spMkLst>
        </pc:spChg>
        <pc:spChg chg="add mod">
          <ac:chgData name="Jacob, Karen (SPAC/PSPC) (elle-la / she-her)" userId="66e9cce0-e37b-4645-a907-f7690bd68dfb" providerId="ADAL" clId="{871AC57A-6E3B-4D85-BA02-8D6F5065EA89}" dt="2024-06-04T20:03:30.484" v="31"/>
          <ac:spMkLst>
            <pc:docMk/>
            <pc:sldMk cId="581567723" sldId="4998"/>
            <ac:spMk id="30" creationId="{75E9AAB8-EA66-4102-AF27-F77BCADBA375}"/>
          </ac:spMkLst>
        </pc:spChg>
        <pc:spChg chg="add mod">
          <ac:chgData name="Jacob, Karen (SPAC/PSPC) (elle-la / she-her)" userId="66e9cce0-e37b-4645-a907-f7690bd68dfb" providerId="ADAL" clId="{871AC57A-6E3B-4D85-BA02-8D6F5065EA89}" dt="2024-06-04T20:03:30.484" v="31"/>
          <ac:spMkLst>
            <pc:docMk/>
            <pc:sldMk cId="581567723" sldId="4998"/>
            <ac:spMk id="31" creationId="{41B99211-FD43-4964-A27C-6BBA5F5109CB}"/>
          </ac:spMkLst>
        </pc:spChg>
        <pc:spChg chg="add mod">
          <ac:chgData name="Jacob, Karen (SPAC/PSPC) (elle-la / she-her)" userId="66e9cce0-e37b-4645-a907-f7690bd68dfb" providerId="ADAL" clId="{871AC57A-6E3B-4D85-BA02-8D6F5065EA89}" dt="2024-06-04T20:03:30.484" v="31"/>
          <ac:spMkLst>
            <pc:docMk/>
            <pc:sldMk cId="581567723" sldId="4998"/>
            <ac:spMk id="32" creationId="{99309AC4-1DCF-44A4-A5CC-AABB0F647385}"/>
          </ac:spMkLst>
        </pc:spChg>
        <pc:spChg chg="add mod">
          <ac:chgData name="Jacob, Karen (SPAC/PSPC) (elle-la / she-her)" userId="66e9cce0-e37b-4645-a907-f7690bd68dfb" providerId="ADAL" clId="{871AC57A-6E3B-4D85-BA02-8D6F5065EA89}" dt="2024-06-04T20:03:30.484" v="31"/>
          <ac:spMkLst>
            <pc:docMk/>
            <pc:sldMk cId="581567723" sldId="4998"/>
            <ac:spMk id="33" creationId="{B8C0259E-6523-467A-ADC1-8C71B6BF418C}"/>
          </ac:spMkLst>
        </pc:spChg>
        <pc:spChg chg="add mod">
          <ac:chgData name="Jacob, Karen (SPAC/PSPC) (elle-la / she-her)" userId="66e9cce0-e37b-4645-a907-f7690bd68dfb" providerId="ADAL" clId="{871AC57A-6E3B-4D85-BA02-8D6F5065EA89}" dt="2024-06-04T20:03:30.484" v="31"/>
          <ac:spMkLst>
            <pc:docMk/>
            <pc:sldMk cId="581567723" sldId="4998"/>
            <ac:spMk id="34" creationId="{23E4D2D6-EA40-4D69-91E9-C8BD2077BAB1}"/>
          </ac:spMkLst>
        </pc:spChg>
        <pc:spChg chg="add mod">
          <ac:chgData name="Jacob, Karen (SPAC/PSPC) (elle-la / she-her)" userId="66e9cce0-e37b-4645-a907-f7690bd68dfb" providerId="ADAL" clId="{871AC57A-6E3B-4D85-BA02-8D6F5065EA89}" dt="2024-06-04T20:03:30.484" v="31"/>
          <ac:spMkLst>
            <pc:docMk/>
            <pc:sldMk cId="581567723" sldId="4998"/>
            <ac:spMk id="35" creationId="{A48CBE16-158E-4804-806F-06E593C33533}"/>
          </ac:spMkLst>
        </pc:spChg>
        <pc:spChg chg="add mod">
          <ac:chgData name="Jacob, Karen (SPAC/PSPC) (elle-la / she-her)" userId="66e9cce0-e37b-4645-a907-f7690bd68dfb" providerId="ADAL" clId="{871AC57A-6E3B-4D85-BA02-8D6F5065EA89}" dt="2024-06-04T20:03:30.484" v="31"/>
          <ac:spMkLst>
            <pc:docMk/>
            <pc:sldMk cId="581567723" sldId="4998"/>
            <ac:spMk id="36" creationId="{2E8F8949-C333-4D2F-9EA4-6C7C28383021}"/>
          </ac:spMkLst>
        </pc:spChg>
        <pc:spChg chg="add mod">
          <ac:chgData name="Jacob, Karen (SPAC/PSPC) (elle-la / she-her)" userId="66e9cce0-e37b-4645-a907-f7690bd68dfb" providerId="ADAL" clId="{871AC57A-6E3B-4D85-BA02-8D6F5065EA89}" dt="2024-06-04T20:03:30.484" v="31"/>
          <ac:spMkLst>
            <pc:docMk/>
            <pc:sldMk cId="581567723" sldId="4998"/>
            <ac:spMk id="37" creationId="{A8539B96-75E4-4E3D-A09A-1BC3EC435F3A}"/>
          </ac:spMkLst>
        </pc:spChg>
        <pc:spChg chg="add mod">
          <ac:chgData name="Jacob, Karen (SPAC/PSPC) (elle-la / she-her)" userId="66e9cce0-e37b-4645-a907-f7690bd68dfb" providerId="ADAL" clId="{871AC57A-6E3B-4D85-BA02-8D6F5065EA89}" dt="2024-06-04T20:03:30.484" v="31"/>
          <ac:spMkLst>
            <pc:docMk/>
            <pc:sldMk cId="581567723" sldId="4998"/>
            <ac:spMk id="38" creationId="{44CC609C-D6D7-4BEC-96C1-7C6A98B6DD9C}"/>
          </ac:spMkLst>
        </pc:spChg>
        <pc:spChg chg="add mod">
          <ac:chgData name="Jacob, Karen (SPAC/PSPC) (elle-la / she-her)" userId="66e9cce0-e37b-4645-a907-f7690bd68dfb" providerId="ADAL" clId="{871AC57A-6E3B-4D85-BA02-8D6F5065EA89}" dt="2024-06-04T20:03:30.484" v="31"/>
          <ac:spMkLst>
            <pc:docMk/>
            <pc:sldMk cId="581567723" sldId="4998"/>
            <ac:spMk id="39" creationId="{EAD81601-64DF-4625-9203-D95121D131A5}"/>
          </ac:spMkLst>
        </pc:spChg>
        <pc:spChg chg="add mod">
          <ac:chgData name="Jacob, Karen (SPAC/PSPC) (elle-la / she-her)" userId="66e9cce0-e37b-4645-a907-f7690bd68dfb" providerId="ADAL" clId="{871AC57A-6E3B-4D85-BA02-8D6F5065EA89}" dt="2024-06-04T20:03:30.484" v="31"/>
          <ac:spMkLst>
            <pc:docMk/>
            <pc:sldMk cId="581567723" sldId="4998"/>
            <ac:spMk id="40" creationId="{162B74FF-8D9E-4AA2-8499-2A6877C548D7}"/>
          </ac:spMkLst>
        </pc:spChg>
        <pc:spChg chg="add mod">
          <ac:chgData name="Jacob, Karen (SPAC/PSPC) (elle-la / she-her)" userId="66e9cce0-e37b-4645-a907-f7690bd68dfb" providerId="ADAL" clId="{871AC57A-6E3B-4D85-BA02-8D6F5065EA89}" dt="2024-06-04T20:03:30.484" v="31"/>
          <ac:spMkLst>
            <pc:docMk/>
            <pc:sldMk cId="581567723" sldId="4998"/>
            <ac:spMk id="41" creationId="{4D8D6572-3333-4489-909A-4944965A0F50}"/>
          </ac:spMkLst>
        </pc:spChg>
        <pc:spChg chg="add mod">
          <ac:chgData name="Jacob, Karen (SPAC/PSPC) (elle-la / she-her)" userId="66e9cce0-e37b-4645-a907-f7690bd68dfb" providerId="ADAL" clId="{871AC57A-6E3B-4D85-BA02-8D6F5065EA89}" dt="2024-06-04T20:03:30.484" v="31"/>
          <ac:spMkLst>
            <pc:docMk/>
            <pc:sldMk cId="581567723" sldId="4998"/>
            <ac:spMk id="42" creationId="{921D4106-686A-4FB6-804B-BE4034670D82}"/>
          </ac:spMkLst>
        </pc:spChg>
        <pc:spChg chg="add mod">
          <ac:chgData name="Jacob, Karen (SPAC/PSPC) (elle-la / she-her)" userId="66e9cce0-e37b-4645-a907-f7690bd68dfb" providerId="ADAL" clId="{871AC57A-6E3B-4D85-BA02-8D6F5065EA89}" dt="2024-06-04T20:03:30.484" v="31"/>
          <ac:spMkLst>
            <pc:docMk/>
            <pc:sldMk cId="581567723" sldId="4998"/>
            <ac:spMk id="43" creationId="{7606B248-DA4E-416F-86F7-25423084CC07}"/>
          </ac:spMkLst>
        </pc:spChg>
        <pc:spChg chg="add mod">
          <ac:chgData name="Jacob, Karen (SPAC/PSPC) (elle-la / she-her)" userId="66e9cce0-e37b-4645-a907-f7690bd68dfb" providerId="ADAL" clId="{871AC57A-6E3B-4D85-BA02-8D6F5065EA89}" dt="2024-06-04T20:03:30.484" v="31"/>
          <ac:spMkLst>
            <pc:docMk/>
            <pc:sldMk cId="581567723" sldId="4998"/>
            <ac:spMk id="44" creationId="{3B2BE8E2-BF4F-4F10-A745-063B5F0B58FF}"/>
          </ac:spMkLst>
        </pc:spChg>
        <pc:spChg chg="add mod">
          <ac:chgData name="Jacob, Karen (SPAC/PSPC) (elle-la / she-her)" userId="66e9cce0-e37b-4645-a907-f7690bd68dfb" providerId="ADAL" clId="{871AC57A-6E3B-4D85-BA02-8D6F5065EA89}" dt="2024-06-04T20:03:30.484" v="31"/>
          <ac:spMkLst>
            <pc:docMk/>
            <pc:sldMk cId="581567723" sldId="4998"/>
            <ac:spMk id="45" creationId="{C27EF6FC-A108-41B5-ADF0-5CBA42BBCFC0}"/>
          </ac:spMkLst>
        </pc:spChg>
        <pc:spChg chg="add mod">
          <ac:chgData name="Jacob, Karen (SPAC/PSPC) (elle-la / she-her)" userId="66e9cce0-e37b-4645-a907-f7690bd68dfb" providerId="ADAL" clId="{871AC57A-6E3B-4D85-BA02-8D6F5065EA89}" dt="2024-06-04T20:03:30.484" v="31"/>
          <ac:spMkLst>
            <pc:docMk/>
            <pc:sldMk cId="581567723" sldId="4998"/>
            <ac:spMk id="46" creationId="{89E4AC49-96D4-4509-969E-30807EE6796F}"/>
          </ac:spMkLst>
        </pc:spChg>
        <pc:spChg chg="add mod">
          <ac:chgData name="Jacob, Karen (SPAC/PSPC) (elle-la / she-her)" userId="66e9cce0-e37b-4645-a907-f7690bd68dfb" providerId="ADAL" clId="{871AC57A-6E3B-4D85-BA02-8D6F5065EA89}" dt="2024-06-04T20:03:30.484" v="31"/>
          <ac:spMkLst>
            <pc:docMk/>
            <pc:sldMk cId="581567723" sldId="4998"/>
            <ac:spMk id="47" creationId="{1185DB12-E95A-4255-8EE5-35584E3DA745}"/>
          </ac:spMkLst>
        </pc:spChg>
        <pc:spChg chg="add mod">
          <ac:chgData name="Jacob, Karen (SPAC/PSPC) (elle-la / she-her)" userId="66e9cce0-e37b-4645-a907-f7690bd68dfb" providerId="ADAL" clId="{871AC57A-6E3B-4D85-BA02-8D6F5065EA89}" dt="2024-06-04T20:03:30.484" v="31"/>
          <ac:spMkLst>
            <pc:docMk/>
            <pc:sldMk cId="581567723" sldId="4998"/>
            <ac:spMk id="48" creationId="{2ECFBB9C-AE77-451F-8F9F-25AF9A2A590A}"/>
          </ac:spMkLst>
        </pc:spChg>
        <pc:spChg chg="add mod">
          <ac:chgData name="Jacob, Karen (SPAC/PSPC) (elle-la / she-her)" userId="66e9cce0-e37b-4645-a907-f7690bd68dfb" providerId="ADAL" clId="{871AC57A-6E3B-4D85-BA02-8D6F5065EA89}" dt="2024-06-04T20:03:30.484" v="31"/>
          <ac:spMkLst>
            <pc:docMk/>
            <pc:sldMk cId="581567723" sldId="4998"/>
            <ac:spMk id="49" creationId="{F2B34AE5-3B17-4706-B49D-02C6E196CE55}"/>
          </ac:spMkLst>
        </pc:spChg>
        <pc:spChg chg="add mod">
          <ac:chgData name="Jacob, Karen (SPAC/PSPC) (elle-la / she-her)" userId="66e9cce0-e37b-4645-a907-f7690bd68dfb" providerId="ADAL" clId="{871AC57A-6E3B-4D85-BA02-8D6F5065EA89}" dt="2024-06-04T20:03:30.484" v="31"/>
          <ac:spMkLst>
            <pc:docMk/>
            <pc:sldMk cId="581567723" sldId="4998"/>
            <ac:spMk id="50" creationId="{4ED6E4AA-D2B8-441E-8CC1-223AACCB7FD6}"/>
          </ac:spMkLst>
        </pc:spChg>
        <pc:spChg chg="add mod">
          <ac:chgData name="Jacob, Karen (SPAC/PSPC) (elle-la / she-her)" userId="66e9cce0-e37b-4645-a907-f7690bd68dfb" providerId="ADAL" clId="{871AC57A-6E3B-4D85-BA02-8D6F5065EA89}" dt="2024-06-04T20:03:30.484" v="31"/>
          <ac:spMkLst>
            <pc:docMk/>
            <pc:sldMk cId="581567723" sldId="4998"/>
            <ac:spMk id="51" creationId="{9DA5077E-878F-48CD-ADDF-BAFF6FDE7934}"/>
          </ac:spMkLst>
        </pc:spChg>
        <pc:spChg chg="add mod">
          <ac:chgData name="Jacob, Karen (SPAC/PSPC) (elle-la / she-her)" userId="66e9cce0-e37b-4645-a907-f7690bd68dfb" providerId="ADAL" clId="{871AC57A-6E3B-4D85-BA02-8D6F5065EA89}" dt="2024-06-04T20:03:30.484" v="31"/>
          <ac:spMkLst>
            <pc:docMk/>
            <pc:sldMk cId="581567723" sldId="4998"/>
            <ac:spMk id="52" creationId="{6EE41B9D-7B98-4101-A24E-05191AB21983}"/>
          </ac:spMkLst>
        </pc:spChg>
        <pc:spChg chg="add mod">
          <ac:chgData name="Jacob, Karen (SPAC/PSPC) (elle-la / she-her)" userId="66e9cce0-e37b-4645-a907-f7690bd68dfb" providerId="ADAL" clId="{871AC57A-6E3B-4D85-BA02-8D6F5065EA89}" dt="2024-06-04T20:03:30.484" v="31"/>
          <ac:spMkLst>
            <pc:docMk/>
            <pc:sldMk cId="581567723" sldId="4998"/>
            <ac:spMk id="53" creationId="{A32E3089-F261-4F9B-8BDF-4824025FBEE3}"/>
          </ac:spMkLst>
        </pc:spChg>
        <pc:spChg chg="add mod">
          <ac:chgData name="Jacob, Karen (SPAC/PSPC) (elle-la / she-her)" userId="66e9cce0-e37b-4645-a907-f7690bd68dfb" providerId="ADAL" clId="{871AC57A-6E3B-4D85-BA02-8D6F5065EA89}" dt="2024-06-04T20:03:30.484" v="31"/>
          <ac:spMkLst>
            <pc:docMk/>
            <pc:sldMk cId="581567723" sldId="4998"/>
            <ac:spMk id="54" creationId="{93379D55-25BB-4E20-9C69-F3E91B579276}"/>
          </ac:spMkLst>
        </pc:spChg>
        <pc:spChg chg="add mod">
          <ac:chgData name="Jacob, Karen (SPAC/PSPC) (elle-la / she-her)" userId="66e9cce0-e37b-4645-a907-f7690bd68dfb" providerId="ADAL" clId="{871AC57A-6E3B-4D85-BA02-8D6F5065EA89}" dt="2024-06-04T20:03:30.484" v="31"/>
          <ac:spMkLst>
            <pc:docMk/>
            <pc:sldMk cId="581567723" sldId="4998"/>
            <ac:spMk id="55" creationId="{21AD4492-6F3E-4EFE-9119-9870FE981287}"/>
          </ac:spMkLst>
        </pc:spChg>
        <pc:spChg chg="add mod">
          <ac:chgData name="Jacob, Karen (SPAC/PSPC) (elle-la / she-her)" userId="66e9cce0-e37b-4645-a907-f7690bd68dfb" providerId="ADAL" clId="{871AC57A-6E3B-4D85-BA02-8D6F5065EA89}" dt="2024-06-04T20:03:30.484" v="31"/>
          <ac:spMkLst>
            <pc:docMk/>
            <pc:sldMk cId="581567723" sldId="4998"/>
            <ac:spMk id="56" creationId="{6F100376-2624-4828-BC1F-CBA454FF8022}"/>
          </ac:spMkLst>
        </pc:spChg>
        <pc:spChg chg="add mod">
          <ac:chgData name="Jacob, Karen (SPAC/PSPC) (elle-la / she-her)" userId="66e9cce0-e37b-4645-a907-f7690bd68dfb" providerId="ADAL" clId="{871AC57A-6E3B-4D85-BA02-8D6F5065EA89}" dt="2024-06-04T20:03:30.484" v="31"/>
          <ac:spMkLst>
            <pc:docMk/>
            <pc:sldMk cId="581567723" sldId="4998"/>
            <ac:spMk id="57" creationId="{80A262A4-7EF9-499E-9EDD-D9838469D4D3}"/>
          </ac:spMkLst>
        </pc:spChg>
        <pc:spChg chg="add mod">
          <ac:chgData name="Jacob, Karen (SPAC/PSPC) (elle-la / she-her)" userId="66e9cce0-e37b-4645-a907-f7690bd68dfb" providerId="ADAL" clId="{871AC57A-6E3B-4D85-BA02-8D6F5065EA89}" dt="2024-06-04T20:03:30.484" v="31"/>
          <ac:spMkLst>
            <pc:docMk/>
            <pc:sldMk cId="581567723" sldId="4998"/>
            <ac:spMk id="58" creationId="{A44BB57E-3002-47D8-BD55-BF5AC0D05A39}"/>
          </ac:spMkLst>
        </pc:spChg>
        <pc:spChg chg="add mod">
          <ac:chgData name="Jacob, Karen (SPAC/PSPC) (elle-la / she-her)" userId="66e9cce0-e37b-4645-a907-f7690bd68dfb" providerId="ADAL" clId="{871AC57A-6E3B-4D85-BA02-8D6F5065EA89}" dt="2024-06-04T20:03:30.484" v="31"/>
          <ac:spMkLst>
            <pc:docMk/>
            <pc:sldMk cId="581567723" sldId="4998"/>
            <ac:spMk id="59" creationId="{78D74931-8E46-486A-8DF0-AA86B9A0C6CD}"/>
          </ac:spMkLst>
        </pc:spChg>
        <pc:spChg chg="add mod">
          <ac:chgData name="Jacob, Karen (SPAC/PSPC) (elle-la / she-her)" userId="66e9cce0-e37b-4645-a907-f7690bd68dfb" providerId="ADAL" clId="{871AC57A-6E3B-4D85-BA02-8D6F5065EA89}" dt="2024-06-04T20:03:30.484" v="31"/>
          <ac:spMkLst>
            <pc:docMk/>
            <pc:sldMk cId="581567723" sldId="4998"/>
            <ac:spMk id="60" creationId="{CBE232AF-E8F5-43EE-9D6F-2106B6F2DCBC}"/>
          </ac:spMkLst>
        </pc:spChg>
        <pc:spChg chg="add mod">
          <ac:chgData name="Jacob, Karen (SPAC/PSPC) (elle-la / she-her)" userId="66e9cce0-e37b-4645-a907-f7690bd68dfb" providerId="ADAL" clId="{871AC57A-6E3B-4D85-BA02-8D6F5065EA89}" dt="2024-06-04T20:03:30.484" v="31"/>
          <ac:spMkLst>
            <pc:docMk/>
            <pc:sldMk cId="581567723" sldId="4998"/>
            <ac:spMk id="61" creationId="{59F04C32-5770-46E5-956B-F7A1BDBFA0BF}"/>
          </ac:spMkLst>
        </pc:spChg>
        <pc:spChg chg="add mod">
          <ac:chgData name="Jacob, Karen (SPAC/PSPC) (elle-la / she-her)" userId="66e9cce0-e37b-4645-a907-f7690bd68dfb" providerId="ADAL" clId="{871AC57A-6E3B-4D85-BA02-8D6F5065EA89}" dt="2024-06-04T20:03:30.484" v="31"/>
          <ac:spMkLst>
            <pc:docMk/>
            <pc:sldMk cId="581567723" sldId="4998"/>
            <ac:spMk id="62" creationId="{062E8B16-D8E6-4031-BDB2-A45F2A273A87}"/>
          </ac:spMkLst>
        </pc:spChg>
        <pc:spChg chg="add mod">
          <ac:chgData name="Jacob, Karen (SPAC/PSPC) (elle-la / she-her)" userId="66e9cce0-e37b-4645-a907-f7690bd68dfb" providerId="ADAL" clId="{871AC57A-6E3B-4D85-BA02-8D6F5065EA89}" dt="2024-06-04T20:03:30.484" v="31"/>
          <ac:spMkLst>
            <pc:docMk/>
            <pc:sldMk cId="581567723" sldId="4998"/>
            <ac:spMk id="63" creationId="{EBEA076D-66E7-4312-9FD4-88570722AE89}"/>
          </ac:spMkLst>
        </pc:spChg>
        <pc:spChg chg="add mod">
          <ac:chgData name="Jacob, Karen (SPAC/PSPC) (elle-la / she-her)" userId="66e9cce0-e37b-4645-a907-f7690bd68dfb" providerId="ADAL" clId="{871AC57A-6E3B-4D85-BA02-8D6F5065EA89}" dt="2024-06-04T20:03:30.484" v="31"/>
          <ac:spMkLst>
            <pc:docMk/>
            <pc:sldMk cId="581567723" sldId="4998"/>
            <ac:spMk id="64" creationId="{46C82F6E-91C2-46A9-8173-AF878332D02F}"/>
          </ac:spMkLst>
        </pc:spChg>
        <pc:spChg chg="add mod">
          <ac:chgData name="Jacob, Karen (SPAC/PSPC) (elle-la / she-her)" userId="66e9cce0-e37b-4645-a907-f7690bd68dfb" providerId="ADAL" clId="{871AC57A-6E3B-4D85-BA02-8D6F5065EA89}" dt="2024-06-04T20:03:30.484" v="31"/>
          <ac:spMkLst>
            <pc:docMk/>
            <pc:sldMk cId="581567723" sldId="4998"/>
            <ac:spMk id="67" creationId="{2D3CFA98-F16B-4B1A-9E8F-5FF76EA83AA2}"/>
          </ac:spMkLst>
        </pc:spChg>
        <pc:spChg chg="add mod">
          <ac:chgData name="Jacob, Karen (SPAC/PSPC) (elle-la / she-her)" userId="66e9cce0-e37b-4645-a907-f7690bd68dfb" providerId="ADAL" clId="{871AC57A-6E3B-4D85-BA02-8D6F5065EA89}" dt="2024-06-04T20:03:30.484" v="31"/>
          <ac:spMkLst>
            <pc:docMk/>
            <pc:sldMk cId="581567723" sldId="4998"/>
            <ac:spMk id="69" creationId="{B95952AE-A94E-4A80-ABE5-FC368A7D0E4C}"/>
          </ac:spMkLst>
        </pc:spChg>
        <pc:spChg chg="add mod">
          <ac:chgData name="Jacob, Karen (SPAC/PSPC) (elle-la / she-her)" userId="66e9cce0-e37b-4645-a907-f7690bd68dfb" providerId="ADAL" clId="{871AC57A-6E3B-4D85-BA02-8D6F5065EA89}" dt="2024-06-04T20:03:30.484" v="31"/>
          <ac:spMkLst>
            <pc:docMk/>
            <pc:sldMk cId="581567723" sldId="4998"/>
            <ac:spMk id="70" creationId="{9A471853-C0D8-4803-8315-A237E4335AD6}"/>
          </ac:spMkLst>
        </pc:spChg>
        <pc:spChg chg="add mod">
          <ac:chgData name="Jacob, Karen (SPAC/PSPC) (elle-la / she-her)" userId="66e9cce0-e37b-4645-a907-f7690bd68dfb" providerId="ADAL" clId="{871AC57A-6E3B-4D85-BA02-8D6F5065EA89}" dt="2024-06-04T20:03:30.484" v="31"/>
          <ac:spMkLst>
            <pc:docMk/>
            <pc:sldMk cId="581567723" sldId="4998"/>
            <ac:spMk id="72" creationId="{787836AF-CB7F-4DCA-9A4C-14B80DE615B6}"/>
          </ac:spMkLst>
        </pc:spChg>
        <pc:spChg chg="add mod">
          <ac:chgData name="Jacob, Karen (SPAC/PSPC) (elle-la / she-her)" userId="66e9cce0-e37b-4645-a907-f7690bd68dfb" providerId="ADAL" clId="{871AC57A-6E3B-4D85-BA02-8D6F5065EA89}" dt="2024-06-04T20:03:30.484" v="31"/>
          <ac:spMkLst>
            <pc:docMk/>
            <pc:sldMk cId="581567723" sldId="4998"/>
            <ac:spMk id="73" creationId="{747AC0A7-029F-4F71-8E6D-B5151ABC2B6C}"/>
          </ac:spMkLst>
        </pc:spChg>
        <pc:spChg chg="add mod">
          <ac:chgData name="Jacob, Karen (SPAC/PSPC) (elle-la / she-her)" userId="66e9cce0-e37b-4645-a907-f7690bd68dfb" providerId="ADAL" clId="{871AC57A-6E3B-4D85-BA02-8D6F5065EA89}" dt="2024-06-04T20:03:30.484" v="31"/>
          <ac:spMkLst>
            <pc:docMk/>
            <pc:sldMk cId="581567723" sldId="4998"/>
            <ac:spMk id="74" creationId="{ABB43429-0988-4CC3-B38B-4DCD0150BD45}"/>
          </ac:spMkLst>
        </pc:spChg>
        <pc:spChg chg="add mod">
          <ac:chgData name="Jacob, Karen (SPAC/PSPC) (elle-la / she-her)" userId="66e9cce0-e37b-4645-a907-f7690bd68dfb" providerId="ADAL" clId="{871AC57A-6E3B-4D85-BA02-8D6F5065EA89}" dt="2024-06-04T20:03:30.484" v="31"/>
          <ac:spMkLst>
            <pc:docMk/>
            <pc:sldMk cId="581567723" sldId="4998"/>
            <ac:spMk id="75" creationId="{B81C9F5F-C858-43F5-BF82-1E8F90C6C018}"/>
          </ac:spMkLst>
        </pc:spChg>
        <pc:spChg chg="add mod">
          <ac:chgData name="Jacob, Karen (SPAC/PSPC) (elle-la / she-her)" userId="66e9cce0-e37b-4645-a907-f7690bd68dfb" providerId="ADAL" clId="{871AC57A-6E3B-4D85-BA02-8D6F5065EA89}" dt="2024-06-04T20:03:30.484" v="31"/>
          <ac:spMkLst>
            <pc:docMk/>
            <pc:sldMk cId="581567723" sldId="4998"/>
            <ac:spMk id="76" creationId="{4226700E-4345-4ED4-8920-2F21B52090C7}"/>
          </ac:spMkLst>
        </pc:spChg>
        <pc:spChg chg="add mod">
          <ac:chgData name="Jacob, Karen (SPAC/PSPC) (elle-la / she-her)" userId="66e9cce0-e37b-4645-a907-f7690bd68dfb" providerId="ADAL" clId="{871AC57A-6E3B-4D85-BA02-8D6F5065EA89}" dt="2024-06-04T20:03:30.484" v="31"/>
          <ac:spMkLst>
            <pc:docMk/>
            <pc:sldMk cId="581567723" sldId="4998"/>
            <ac:spMk id="77" creationId="{66E6A198-9270-4B79-87C4-2A07C3A33F1A}"/>
          </ac:spMkLst>
        </pc:spChg>
        <pc:spChg chg="add mod">
          <ac:chgData name="Jacob, Karen (SPAC/PSPC) (elle-la / she-her)" userId="66e9cce0-e37b-4645-a907-f7690bd68dfb" providerId="ADAL" clId="{871AC57A-6E3B-4D85-BA02-8D6F5065EA89}" dt="2024-06-04T20:03:30.484" v="31"/>
          <ac:spMkLst>
            <pc:docMk/>
            <pc:sldMk cId="581567723" sldId="4998"/>
            <ac:spMk id="78" creationId="{7A19E42C-7367-4909-B2D2-819BFA8A1CF0}"/>
          </ac:spMkLst>
        </pc:spChg>
        <pc:spChg chg="add mod">
          <ac:chgData name="Jacob, Karen (SPAC/PSPC) (elle-la / she-her)" userId="66e9cce0-e37b-4645-a907-f7690bd68dfb" providerId="ADAL" clId="{871AC57A-6E3B-4D85-BA02-8D6F5065EA89}" dt="2024-06-04T20:03:30.484" v="31"/>
          <ac:spMkLst>
            <pc:docMk/>
            <pc:sldMk cId="581567723" sldId="4998"/>
            <ac:spMk id="79" creationId="{E406B097-E498-4008-A550-D5BD821E3B7C}"/>
          </ac:spMkLst>
        </pc:spChg>
        <pc:spChg chg="add mod">
          <ac:chgData name="Jacob, Karen (SPAC/PSPC) (elle-la / she-her)" userId="66e9cce0-e37b-4645-a907-f7690bd68dfb" providerId="ADAL" clId="{871AC57A-6E3B-4D85-BA02-8D6F5065EA89}" dt="2024-06-04T20:03:30.484" v="31"/>
          <ac:spMkLst>
            <pc:docMk/>
            <pc:sldMk cId="581567723" sldId="4998"/>
            <ac:spMk id="80" creationId="{BF89B148-7DCE-4E81-8398-CFA5788A87F9}"/>
          </ac:spMkLst>
        </pc:spChg>
        <pc:spChg chg="add mod">
          <ac:chgData name="Jacob, Karen (SPAC/PSPC) (elle-la / she-her)" userId="66e9cce0-e37b-4645-a907-f7690bd68dfb" providerId="ADAL" clId="{871AC57A-6E3B-4D85-BA02-8D6F5065EA89}" dt="2024-06-04T20:03:30.484" v="31"/>
          <ac:spMkLst>
            <pc:docMk/>
            <pc:sldMk cId="581567723" sldId="4998"/>
            <ac:spMk id="81" creationId="{1D949E83-0FCC-43CF-BB15-E807E2B777B5}"/>
          </ac:spMkLst>
        </pc:spChg>
        <pc:spChg chg="add mod">
          <ac:chgData name="Jacob, Karen (SPAC/PSPC) (elle-la / she-her)" userId="66e9cce0-e37b-4645-a907-f7690bd68dfb" providerId="ADAL" clId="{871AC57A-6E3B-4D85-BA02-8D6F5065EA89}" dt="2024-06-04T20:03:30.484" v="31"/>
          <ac:spMkLst>
            <pc:docMk/>
            <pc:sldMk cId="581567723" sldId="4998"/>
            <ac:spMk id="82" creationId="{52EE5E96-C135-4CA3-BC1F-6071300D209B}"/>
          </ac:spMkLst>
        </pc:spChg>
        <pc:spChg chg="add mod">
          <ac:chgData name="Jacob, Karen (SPAC/PSPC) (elle-la / she-her)" userId="66e9cce0-e37b-4645-a907-f7690bd68dfb" providerId="ADAL" clId="{871AC57A-6E3B-4D85-BA02-8D6F5065EA89}" dt="2024-06-04T20:03:30.484" v="31"/>
          <ac:spMkLst>
            <pc:docMk/>
            <pc:sldMk cId="581567723" sldId="4998"/>
            <ac:spMk id="83" creationId="{205DBE0E-F471-4F86-9177-8B217D85906C}"/>
          </ac:spMkLst>
        </pc:spChg>
        <pc:spChg chg="add mod">
          <ac:chgData name="Jacob, Karen (SPAC/PSPC) (elle-la / she-her)" userId="66e9cce0-e37b-4645-a907-f7690bd68dfb" providerId="ADAL" clId="{871AC57A-6E3B-4D85-BA02-8D6F5065EA89}" dt="2024-06-04T20:03:30.484" v="31"/>
          <ac:spMkLst>
            <pc:docMk/>
            <pc:sldMk cId="581567723" sldId="4998"/>
            <ac:spMk id="84" creationId="{291B7CCB-9A66-4F40-AF70-918C867DA230}"/>
          </ac:spMkLst>
        </pc:spChg>
        <pc:spChg chg="add mod">
          <ac:chgData name="Jacob, Karen (SPAC/PSPC) (elle-la / she-her)" userId="66e9cce0-e37b-4645-a907-f7690bd68dfb" providerId="ADAL" clId="{871AC57A-6E3B-4D85-BA02-8D6F5065EA89}" dt="2024-06-04T20:03:30.484" v="31"/>
          <ac:spMkLst>
            <pc:docMk/>
            <pc:sldMk cId="581567723" sldId="4998"/>
            <ac:spMk id="85" creationId="{AF84519F-0296-46EC-927A-6E8E75F115F2}"/>
          </ac:spMkLst>
        </pc:spChg>
        <pc:spChg chg="add mod">
          <ac:chgData name="Jacob, Karen (SPAC/PSPC) (elle-la / she-her)" userId="66e9cce0-e37b-4645-a907-f7690bd68dfb" providerId="ADAL" clId="{871AC57A-6E3B-4D85-BA02-8D6F5065EA89}" dt="2024-06-04T20:03:30.484" v="31"/>
          <ac:spMkLst>
            <pc:docMk/>
            <pc:sldMk cId="581567723" sldId="4998"/>
            <ac:spMk id="86" creationId="{02D65085-DD4A-475B-A055-7AD1E83E702F}"/>
          </ac:spMkLst>
        </pc:spChg>
        <pc:spChg chg="add mod">
          <ac:chgData name="Jacob, Karen (SPAC/PSPC) (elle-la / she-her)" userId="66e9cce0-e37b-4645-a907-f7690bd68dfb" providerId="ADAL" clId="{871AC57A-6E3B-4D85-BA02-8D6F5065EA89}" dt="2024-06-04T20:03:30.484" v="31"/>
          <ac:spMkLst>
            <pc:docMk/>
            <pc:sldMk cId="581567723" sldId="4998"/>
            <ac:spMk id="87" creationId="{0D79E2BB-6DF6-4A55-A6F4-F580465F5743}"/>
          </ac:spMkLst>
        </pc:spChg>
        <pc:spChg chg="add mod">
          <ac:chgData name="Jacob, Karen (SPAC/PSPC) (elle-la / she-her)" userId="66e9cce0-e37b-4645-a907-f7690bd68dfb" providerId="ADAL" clId="{871AC57A-6E3B-4D85-BA02-8D6F5065EA89}" dt="2024-06-04T20:03:30.484" v="31"/>
          <ac:spMkLst>
            <pc:docMk/>
            <pc:sldMk cId="581567723" sldId="4998"/>
            <ac:spMk id="88" creationId="{56B9177D-3490-4BC1-8F95-3E7E00647793}"/>
          </ac:spMkLst>
        </pc:spChg>
        <pc:spChg chg="add mod">
          <ac:chgData name="Jacob, Karen (SPAC/PSPC) (elle-la / she-her)" userId="66e9cce0-e37b-4645-a907-f7690bd68dfb" providerId="ADAL" clId="{871AC57A-6E3B-4D85-BA02-8D6F5065EA89}" dt="2024-06-04T20:03:30.484" v="31"/>
          <ac:spMkLst>
            <pc:docMk/>
            <pc:sldMk cId="581567723" sldId="4998"/>
            <ac:spMk id="89" creationId="{6DB69479-8F24-430C-A591-836532D9DF47}"/>
          </ac:spMkLst>
        </pc:spChg>
        <pc:spChg chg="add mod">
          <ac:chgData name="Jacob, Karen (SPAC/PSPC) (elle-la / she-her)" userId="66e9cce0-e37b-4645-a907-f7690bd68dfb" providerId="ADAL" clId="{871AC57A-6E3B-4D85-BA02-8D6F5065EA89}" dt="2024-06-04T20:03:30.484" v="31"/>
          <ac:spMkLst>
            <pc:docMk/>
            <pc:sldMk cId="581567723" sldId="4998"/>
            <ac:spMk id="90" creationId="{BD8FE8FD-36A9-4CBE-8EF0-DC5BD427B29C}"/>
          </ac:spMkLst>
        </pc:spChg>
        <pc:spChg chg="add mod">
          <ac:chgData name="Jacob, Karen (SPAC/PSPC) (elle-la / she-her)" userId="66e9cce0-e37b-4645-a907-f7690bd68dfb" providerId="ADAL" clId="{871AC57A-6E3B-4D85-BA02-8D6F5065EA89}" dt="2024-06-04T20:03:30.484" v="31"/>
          <ac:spMkLst>
            <pc:docMk/>
            <pc:sldMk cId="581567723" sldId="4998"/>
            <ac:spMk id="91" creationId="{C7D08EDC-D400-4AF2-A1CA-5AE1D5A9F95C}"/>
          </ac:spMkLst>
        </pc:spChg>
        <pc:spChg chg="add mod">
          <ac:chgData name="Jacob, Karen (SPAC/PSPC) (elle-la / she-her)" userId="66e9cce0-e37b-4645-a907-f7690bd68dfb" providerId="ADAL" clId="{871AC57A-6E3B-4D85-BA02-8D6F5065EA89}" dt="2024-06-04T20:03:30.484" v="31"/>
          <ac:spMkLst>
            <pc:docMk/>
            <pc:sldMk cId="581567723" sldId="4998"/>
            <ac:spMk id="92" creationId="{93D3ED72-9264-41B5-9B08-7750C2DE0CB8}"/>
          </ac:spMkLst>
        </pc:spChg>
        <pc:spChg chg="add mod">
          <ac:chgData name="Jacob, Karen (SPAC/PSPC) (elle-la / she-her)" userId="66e9cce0-e37b-4645-a907-f7690bd68dfb" providerId="ADAL" clId="{871AC57A-6E3B-4D85-BA02-8D6F5065EA89}" dt="2024-06-04T20:03:30.484" v="31"/>
          <ac:spMkLst>
            <pc:docMk/>
            <pc:sldMk cId="581567723" sldId="4998"/>
            <ac:spMk id="93" creationId="{A8FF5BF6-F427-4D20-8EB1-65CFC1724605}"/>
          </ac:spMkLst>
        </pc:spChg>
        <pc:spChg chg="add mod">
          <ac:chgData name="Jacob, Karen (SPAC/PSPC) (elle-la / she-her)" userId="66e9cce0-e37b-4645-a907-f7690bd68dfb" providerId="ADAL" clId="{871AC57A-6E3B-4D85-BA02-8D6F5065EA89}" dt="2024-06-04T20:03:30.484" v="31"/>
          <ac:spMkLst>
            <pc:docMk/>
            <pc:sldMk cId="581567723" sldId="4998"/>
            <ac:spMk id="94" creationId="{725DBB61-FAC8-4335-9AA6-6637B839F3D6}"/>
          </ac:spMkLst>
        </pc:spChg>
        <pc:spChg chg="add mod">
          <ac:chgData name="Jacob, Karen (SPAC/PSPC) (elle-la / she-her)" userId="66e9cce0-e37b-4645-a907-f7690bd68dfb" providerId="ADAL" clId="{871AC57A-6E3B-4D85-BA02-8D6F5065EA89}" dt="2024-06-04T20:03:30.484" v="31"/>
          <ac:spMkLst>
            <pc:docMk/>
            <pc:sldMk cId="581567723" sldId="4998"/>
            <ac:spMk id="95" creationId="{B6FBD31A-5436-4C16-8F43-E55F069274F5}"/>
          </ac:spMkLst>
        </pc:spChg>
        <pc:spChg chg="add mod">
          <ac:chgData name="Jacob, Karen (SPAC/PSPC) (elle-la / she-her)" userId="66e9cce0-e37b-4645-a907-f7690bd68dfb" providerId="ADAL" clId="{871AC57A-6E3B-4D85-BA02-8D6F5065EA89}" dt="2024-06-04T20:03:30.484" v="31"/>
          <ac:spMkLst>
            <pc:docMk/>
            <pc:sldMk cId="581567723" sldId="4998"/>
            <ac:spMk id="96" creationId="{F2120E17-A69B-462C-8B21-8EE196B4E81D}"/>
          </ac:spMkLst>
        </pc:spChg>
        <pc:spChg chg="add mod">
          <ac:chgData name="Jacob, Karen (SPAC/PSPC) (elle-la / she-her)" userId="66e9cce0-e37b-4645-a907-f7690bd68dfb" providerId="ADAL" clId="{871AC57A-6E3B-4D85-BA02-8D6F5065EA89}" dt="2024-06-04T20:03:30.484" v="31"/>
          <ac:spMkLst>
            <pc:docMk/>
            <pc:sldMk cId="581567723" sldId="4998"/>
            <ac:spMk id="97" creationId="{9814AE1D-E9AA-4FE6-9DB5-05AACAE7A30A}"/>
          </ac:spMkLst>
        </pc:spChg>
        <pc:spChg chg="add mod">
          <ac:chgData name="Jacob, Karen (SPAC/PSPC) (elle-la / she-her)" userId="66e9cce0-e37b-4645-a907-f7690bd68dfb" providerId="ADAL" clId="{871AC57A-6E3B-4D85-BA02-8D6F5065EA89}" dt="2024-06-04T20:03:30.484" v="31"/>
          <ac:spMkLst>
            <pc:docMk/>
            <pc:sldMk cId="581567723" sldId="4998"/>
            <ac:spMk id="98" creationId="{E4C5ACC5-D963-4E98-AF5C-C330DA3B98B4}"/>
          </ac:spMkLst>
        </pc:spChg>
        <pc:spChg chg="add mod">
          <ac:chgData name="Jacob, Karen (SPAC/PSPC) (elle-la / she-her)" userId="66e9cce0-e37b-4645-a907-f7690bd68dfb" providerId="ADAL" clId="{871AC57A-6E3B-4D85-BA02-8D6F5065EA89}" dt="2024-06-04T20:03:30.484" v="31"/>
          <ac:spMkLst>
            <pc:docMk/>
            <pc:sldMk cId="581567723" sldId="4998"/>
            <ac:spMk id="99" creationId="{943262C8-94B0-46A8-A48C-BF1D0EDD0760}"/>
          </ac:spMkLst>
        </pc:spChg>
        <pc:spChg chg="add mod">
          <ac:chgData name="Jacob, Karen (SPAC/PSPC) (elle-la / she-her)" userId="66e9cce0-e37b-4645-a907-f7690bd68dfb" providerId="ADAL" clId="{871AC57A-6E3B-4D85-BA02-8D6F5065EA89}" dt="2024-06-04T20:03:30.484" v="31"/>
          <ac:spMkLst>
            <pc:docMk/>
            <pc:sldMk cId="581567723" sldId="4998"/>
            <ac:spMk id="100" creationId="{F4EB67C5-A05D-4790-8033-9F6BFBA17231}"/>
          </ac:spMkLst>
        </pc:spChg>
        <pc:spChg chg="add mod">
          <ac:chgData name="Jacob, Karen (SPAC/PSPC) (elle-la / she-her)" userId="66e9cce0-e37b-4645-a907-f7690bd68dfb" providerId="ADAL" clId="{871AC57A-6E3B-4D85-BA02-8D6F5065EA89}" dt="2024-06-04T20:03:30.484" v="31"/>
          <ac:spMkLst>
            <pc:docMk/>
            <pc:sldMk cId="581567723" sldId="4998"/>
            <ac:spMk id="101" creationId="{C123A7F2-D10A-44D6-862A-1290AA2524EA}"/>
          </ac:spMkLst>
        </pc:spChg>
        <pc:spChg chg="add mod">
          <ac:chgData name="Jacob, Karen (SPAC/PSPC) (elle-la / she-her)" userId="66e9cce0-e37b-4645-a907-f7690bd68dfb" providerId="ADAL" clId="{871AC57A-6E3B-4D85-BA02-8D6F5065EA89}" dt="2024-06-04T20:03:30.484" v="31"/>
          <ac:spMkLst>
            <pc:docMk/>
            <pc:sldMk cId="581567723" sldId="4998"/>
            <ac:spMk id="102" creationId="{6B2AD6FF-75F6-4BEC-B0E2-2106CF8D85EF}"/>
          </ac:spMkLst>
        </pc:spChg>
        <pc:spChg chg="add mod">
          <ac:chgData name="Jacob, Karen (SPAC/PSPC) (elle-la / she-her)" userId="66e9cce0-e37b-4645-a907-f7690bd68dfb" providerId="ADAL" clId="{871AC57A-6E3B-4D85-BA02-8D6F5065EA89}" dt="2024-06-04T20:03:30.484" v="31"/>
          <ac:spMkLst>
            <pc:docMk/>
            <pc:sldMk cId="581567723" sldId="4998"/>
            <ac:spMk id="103" creationId="{F8538060-124E-4F48-95E7-9D1FC44DCE29}"/>
          </ac:spMkLst>
        </pc:spChg>
        <pc:spChg chg="add mod">
          <ac:chgData name="Jacob, Karen (SPAC/PSPC) (elle-la / she-her)" userId="66e9cce0-e37b-4645-a907-f7690bd68dfb" providerId="ADAL" clId="{871AC57A-6E3B-4D85-BA02-8D6F5065EA89}" dt="2024-06-04T20:03:30.484" v="31"/>
          <ac:spMkLst>
            <pc:docMk/>
            <pc:sldMk cId="581567723" sldId="4998"/>
            <ac:spMk id="104" creationId="{E0ACDE9C-AF7C-4AC2-BF82-0C109FA4FA72}"/>
          </ac:spMkLst>
        </pc:spChg>
        <pc:spChg chg="add mod">
          <ac:chgData name="Jacob, Karen (SPAC/PSPC) (elle-la / she-her)" userId="66e9cce0-e37b-4645-a907-f7690bd68dfb" providerId="ADAL" clId="{871AC57A-6E3B-4D85-BA02-8D6F5065EA89}" dt="2024-06-04T20:03:30.484" v="31"/>
          <ac:spMkLst>
            <pc:docMk/>
            <pc:sldMk cId="581567723" sldId="4998"/>
            <ac:spMk id="105" creationId="{64E49C9C-34D0-4E1C-8A8F-94224E21ACA4}"/>
          </ac:spMkLst>
        </pc:spChg>
        <pc:spChg chg="add mod">
          <ac:chgData name="Jacob, Karen (SPAC/PSPC) (elle-la / she-her)" userId="66e9cce0-e37b-4645-a907-f7690bd68dfb" providerId="ADAL" clId="{871AC57A-6E3B-4D85-BA02-8D6F5065EA89}" dt="2024-06-04T20:03:30.484" v="31"/>
          <ac:spMkLst>
            <pc:docMk/>
            <pc:sldMk cId="581567723" sldId="4998"/>
            <ac:spMk id="106" creationId="{974E5BD2-C1A4-4310-AB62-C664A5981DBB}"/>
          </ac:spMkLst>
        </pc:spChg>
        <pc:spChg chg="add mod">
          <ac:chgData name="Jacob, Karen (SPAC/PSPC) (elle-la / she-her)" userId="66e9cce0-e37b-4645-a907-f7690bd68dfb" providerId="ADAL" clId="{871AC57A-6E3B-4D85-BA02-8D6F5065EA89}" dt="2024-06-04T20:03:30.484" v="31"/>
          <ac:spMkLst>
            <pc:docMk/>
            <pc:sldMk cId="581567723" sldId="4998"/>
            <ac:spMk id="107" creationId="{0AC9074B-D980-4167-8282-6847643BDA14}"/>
          </ac:spMkLst>
        </pc:spChg>
        <pc:spChg chg="add mod">
          <ac:chgData name="Jacob, Karen (SPAC/PSPC) (elle-la / she-her)" userId="66e9cce0-e37b-4645-a907-f7690bd68dfb" providerId="ADAL" clId="{871AC57A-6E3B-4D85-BA02-8D6F5065EA89}" dt="2024-06-04T20:03:30.484" v="31"/>
          <ac:spMkLst>
            <pc:docMk/>
            <pc:sldMk cId="581567723" sldId="4998"/>
            <ac:spMk id="108" creationId="{B08827D0-B6FA-4BE6-8966-D3541075B0D6}"/>
          </ac:spMkLst>
        </pc:spChg>
        <pc:spChg chg="add mod">
          <ac:chgData name="Jacob, Karen (SPAC/PSPC) (elle-la / she-her)" userId="66e9cce0-e37b-4645-a907-f7690bd68dfb" providerId="ADAL" clId="{871AC57A-6E3B-4D85-BA02-8D6F5065EA89}" dt="2024-06-04T20:03:30.484" v="31"/>
          <ac:spMkLst>
            <pc:docMk/>
            <pc:sldMk cId="581567723" sldId="4998"/>
            <ac:spMk id="109" creationId="{052C70B8-E11B-46D8-9E76-5D7C0ABF20B8}"/>
          </ac:spMkLst>
        </pc:spChg>
        <pc:spChg chg="add mod">
          <ac:chgData name="Jacob, Karen (SPAC/PSPC) (elle-la / she-her)" userId="66e9cce0-e37b-4645-a907-f7690bd68dfb" providerId="ADAL" clId="{871AC57A-6E3B-4D85-BA02-8D6F5065EA89}" dt="2024-06-04T20:03:30.484" v="31"/>
          <ac:spMkLst>
            <pc:docMk/>
            <pc:sldMk cId="581567723" sldId="4998"/>
            <ac:spMk id="110" creationId="{50D981BE-A9F5-41EA-A906-1D3A5309B736}"/>
          </ac:spMkLst>
        </pc:spChg>
        <pc:spChg chg="add mod">
          <ac:chgData name="Jacob, Karen (SPAC/PSPC) (elle-la / she-her)" userId="66e9cce0-e37b-4645-a907-f7690bd68dfb" providerId="ADAL" clId="{871AC57A-6E3B-4D85-BA02-8D6F5065EA89}" dt="2024-06-04T20:03:30.484" v="31"/>
          <ac:spMkLst>
            <pc:docMk/>
            <pc:sldMk cId="581567723" sldId="4998"/>
            <ac:spMk id="111" creationId="{BF98DB2D-62A6-4BDF-90A8-1D930D9531E3}"/>
          </ac:spMkLst>
        </pc:spChg>
        <pc:spChg chg="add mod">
          <ac:chgData name="Jacob, Karen (SPAC/PSPC) (elle-la / she-her)" userId="66e9cce0-e37b-4645-a907-f7690bd68dfb" providerId="ADAL" clId="{871AC57A-6E3B-4D85-BA02-8D6F5065EA89}" dt="2024-06-04T20:03:30.484" v="31"/>
          <ac:spMkLst>
            <pc:docMk/>
            <pc:sldMk cId="581567723" sldId="4998"/>
            <ac:spMk id="112" creationId="{0B8EA684-C526-4015-AB3E-D5CED4B24349}"/>
          </ac:spMkLst>
        </pc:spChg>
        <pc:spChg chg="add mod">
          <ac:chgData name="Jacob, Karen (SPAC/PSPC) (elle-la / she-her)" userId="66e9cce0-e37b-4645-a907-f7690bd68dfb" providerId="ADAL" clId="{871AC57A-6E3B-4D85-BA02-8D6F5065EA89}" dt="2024-06-04T20:03:30.484" v="31"/>
          <ac:spMkLst>
            <pc:docMk/>
            <pc:sldMk cId="581567723" sldId="4998"/>
            <ac:spMk id="113" creationId="{EEB5C5E9-3B66-42D4-A153-77D9D0FE286A}"/>
          </ac:spMkLst>
        </pc:spChg>
        <pc:spChg chg="add mod">
          <ac:chgData name="Jacob, Karen (SPAC/PSPC) (elle-la / she-her)" userId="66e9cce0-e37b-4645-a907-f7690bd68dfb" providerId="ADAL" clId="{871AC57A-6E3B-4D85-BA02-8D6F5065EA89}" dt="2024-06-04T20:03:30.484" v="31"/>
          <ac:spMkLst>
            <pc:docMk/>
            <pc:sldMk cId="581567723" sldId="4998"/>
            <ac:spMk id="114" creationId="{115AD709-94C6-4143-8907-6FEED4B54995}"/>
          </ac:spMkLst>
        </pc:spChg>
        <pc:spChg chg="add mod">
          <ac:chgData name="Jacob, Karen (SPAC/PSPC) (elle-la / she-her)" userId="66e9cce0-e37b-4645-a907-f7690bd68dfb" providerId="ADAL" clId="{871AC57A-6E3B-4D85-BA02-8D6F5065EA89}" dt="2024-07-09T13:58:50.495" v="6985" actId="1035"/>
          <ac:spMkLst>
            <pc:docMk/>
            <pc:sldMk cId="581567723" sldId="4998"/>
            <ac:spMk id="115" creationId="{99B313E4-68F8-0E05-784F-777B53C53AD8}"/>
          </ac:spMkLst>
        </pc:spChg>
        <pc:spChg chg="add mod">
          <ac:chgData name="Jacob, Karen (SPAC/PSPC) (elle-la / she-her)" userId="66e9cce0-e37b-4645-a907-f7690bd68dfb" providerId="ADAL" clId="{871AC57A-6E3B-4D85-BA02-8D6F5065EA89}" dt="2024-06-21T12:40:53.153" v="326" actId="6549"/>
          <ac:spMkLst>
            <pc:docMk/>
            <pc:sldMk cId="581567723" sldId="4998"/>
            <ac:spMk id="116" creationId="{D977104C-37CA-F758-7243-30B07DD8013A}"/>
          </ac:spMkLst>
        </pc:spChg>
        <pc:spChg chg="add mod">
          <ac:chgData name="Jacob, Karen (SPAC/PSPC) (elle-la / she-her)" userId="66e9cce0-e37b-4645-a907-f7690bd68dfb" providerId="ADAL" clId="{871AC57A-6E3B-4D85-BA02-8D6F5065EA89}" dt="2024-06-21T12:43:01.524" v="419" actId="1036"/>
          <ac:spMkLst>
            <pc:docMk/>
            <pc:sldMk cId="581567723" sldId="4998"/>
            <ac:spMk id="117" creationId="{C9DAC2A6-C89F-2DC3-5552-32890189A83F}"/>
          </ac:spMkLst>
        </pc:spChg>
        <pc:spChg chg="add mod">
          <ac:chgData name="Jacob, Karen (SPAC/PSPC) (elle-la / she-her)" userId="66e9cce0-e37b-4645-a907-f7690bd68dfb" providerId="ADAL" clId="{871AC57A-6E3B-4D85-BA02-8D6F5065EA89}" dt="2024-07-09T13:08:47.131" v="6290" actId="20577"/>
          <ac:spMkLst>
            <pc:docMk/>
            <pc:sldMk cId="581567723" sldId="4998"/>
            <ac:spMk id="118" creationId="{03606830-0145-BF89-5080-5EDD4851A9CA}"/>
          </ac:spMkLst>
        </pc:spChg>
        <pc:spChg chg="add mod">
          <ac:chgData name="Jacob, Karen (SPAC/PSPC) (elle-la / she-her)" userId="66e9cce0-e37b-4645-a907-f7690bd68dfb" providerId="ADAL" clId="{871AC57A-6E3B-4D85-BA02-8D6F5065EA89}" dt="2024-06-21T12:43:01.524" v="419" actId="1036"/>
          <ac:spMkLst>
            <pc:docMk/>
            <pc:sldMk cId="581567723" sldId="4998"/>
            <ac:spMk id="121" creationId="{66B4CDA5-6D84-9E6F-207A-6E00AF65A892}"/>
          </ac:spMkLst>
        </pc:spChg>
        <pc:spChg chg="add mod">
          <ac:chgData name="Jacob, Karen (SPAC/PSPC) (elle-la / she-her)" userId="66e9cce0-e37b-4645-a907-f7690bd68dfb" providerId="ADAL" clId="{871AC57A-6E3B-4D85-BA02-8D6F5065EA89}" dt="2024-06-21T12:45:09.449" v="460" actId="20577"/>
          <ac:spMkLst>
            <pc:docMk/>
            <pc:sldMk cId="581567723" sldId="4998"/>
            <ac:spMk id="122" creationId="{A9D90BF1-5FA9-70F0-2114-74B647F61343}"/>
          </ac:spMkLst>
        </pc:spChg>
        <pc:spChg chg="add mod">
          <ac:chgData name="Jacob, Karen (SPAC/PSPC) (elle-la / she-her)" userId="66e9cce0-e37b-4645-a907-f7690bd68dfb" providerId="ADAL" clId="{871AC57A-6E3B-4D85-BA02-8D6F5065EA89}" dt="2024-07-09T13:58:44.995" v="6977" actId="1076"/>
          <ac:spMkLst>
            <pc:docMk/>
            <pc:sldMk cId="581567723" sldId="4998"/>
            <ac:spMk id="123" creationId="{96958ADE-A4CF-B97E-6CC3-E67FA3D6703E}"/>
          </ac:spMkLst>
        </pc:spChg>
        <pc:spChg chg="add mod">
          <ac:chgData name="Jacob, Karen (SPAC/PSPC) (elle-la / she-her)" userId="66e9cce0-e37b-4645-a907-f7690bd68dfb" providerId="ADAL" clId="{871AC57A-6E3B-4D85-BA02-8D6F5065EA89}" dt="2024-06-04T20:08:42.193" v="68" actId="400"/>
          <ac:spMkLst>
            <pc:docMk/>
            <pc:sldMk cId="581567723" sldId="4998"/>
            <ac:spMk id="124" creationId="{D42E50EC-09BD-1D9A-3AA5-B3779C9D68F8}"/>
          </ac:spMkLst>
        </pc:spChg>
        <pc:spChg chg="add mod">
          <ac:chgData name="Jacob, Karen (SPAC/PSPC) (elle-la / she-her)" userId="66e9cce0-e37b-4645-a907-f7690bd68dfb" providerId="ADAL" clId="{871AC57A-6E3B-4D85-BA02-8D6F5065EA89}" dt="2024-07-09T15:20:28.450" v="7097" actId="14100"/>
          <ac:spMkLst>
            <pc:docMk/>
            <pc:sldMk cId="581567723" sldId="4998"/>
            <ac:spMk id="125" creationId="{C3A1B379-6571-1C49-58FA-89CBE354E722}"/>
          </ac:spMkLst>
        </pc:spChg>
        <pc:spChg chg="add mod">
          <ac:chgData name="Jacob, Karen (SPAC/PSPC) (elle-la / she-her)" userId="66e9cce0-e37b-4645-a907-f7690bd68dfb" providerId="ADAL" clId="{871AC57A-6E3B-4D85-BA02-8D6F5065EA89}" dt="2024-07-09T15:20:22.221" v="7095" actId="14100"/>
          <ac:spMkLst>
            <pc:docMk/>
            <pc:sldMk cId="581567723" sldId="4998"/>
            <ac:spMk id="126" creationId="{1D166D08-6E2D-80DD-6808-092F6378AC03}"/>
          </ac:spMkLst>
        </pc:spChg>
        <pc:spChg chg="add mod">
          <ac:chgData name="Jacob, Karen (SPAC/PSPC) (elle-la / she-her)" userId="66e9cce0-e37b-4645-a907-f7690bd68dfb" providerId="ADAL" clId="{871AC57A-6E3B-4D85-BA02-8D6F5065EA89}" dt="2024-06-04T20:08:47.658" v="69" actId="400"/>
          <ac:spMkLst>
            <pc:docMk/>
            <pc:sldMk cId="581567723" sldId="4998"/>
            <ac:spMk id="127" creationId="{66533980-1485-F682-A323-EED21142DA01}"/>
          </ac:spMkLst>
        </pc:spChg>
        <pc:spChg chg="add mod">
          <ac:chgData name="Jacob, Karen (SPAC/PSPC) (elle-la / she-her)" userId="66e9cce0-e37b-4645-a907-f7690bd68dfb" providerId="ADAL" clId="{871AC57A-6E3B-4D85-BA02-8D6F5065EA89}" dt="2024-07-09T13:58:50.495" v="6985" actId="1035"/>
          <ac:spMkLst>
            <pc:docMk/>
            <pc:sldMk cId="581567723" sldId="4998"/>
            <ac:spMk id="130" creationId="{37927CF3-81AF-9EC4-5FAE-0F465D84F953}"/>
          </ac:spMkLst>
        </pc:spChg>
        <pc:spChg chg="add mod">
          <ac:chgData name="Jacob, Karen (SPAC/PSPC) (elle-la / she-her)" userId="66e9cce0-e37b-4645-a907-f7690bd68dfb" providerId="ADAL" clId="{871AC57A-6E3B-4D85-BA02-8D6F5065EA89}" dt="2024-07-09T15:20:17.989" v="7094" actId="14100"/>
          <ac:spMkLst>
            <pc:docMk/>
            <pc:sldMk cId="581567723" sldId="4998"/>
            <ac:spMk id="131" creationId="{F71F5B42-71A6-85F9-508A-7ED7FF32727F}"/>
          </ac:spMkLst>
        </pc:spChg>
        <pc:spChg chg="add mod">
          <ac:chgData name="Jacob, Karen (SPAC/PSPC) (elle-la / she-her)" userId="66e9cce0-e37b-4645-a907-f7690bd68dfb" providerId="ADAL" clId="{871AC57A-6E3B-4D85-BA02-8D6F5065EA89}" dt="2024-07-09T15:19:03.396" v="7064" actId="1076"/>
          <ac:spMkLst>
            <pc:docMk/>
            <pc:sldMk cId="581567723" sldId="4998"/>
            <ac:spMk id="132" creationId="{972E62F7-856E-E74B-98EE-589692A22E88}"/>
          </ac:spMkLst>
        </pc:spChg>
        <pc:spChg chg="add mod">
          <ac:chgData name="Jacob, Karen (SPAC/PSPC) (elle-la / she-her)" userId="66e9cce0-e37b-4645-a907-f7690bd68dfb" providerId="ADAL" clId="{871AC57A-6E3B-4D85-BA02-8D6F5065EA89}" dt="2024-06-21T12:43:01.524" v="419" actId="1036"/>
          <ac:spMkLst>
            <pc:docMk/>
            <pc:sldMk cId="581567723" sldId="4998"/>
            <ac:spMk id="139" creationId="{CF62872A-6A4F-E4F7-4AD7-DBC7CF7BE7BB}"/>
          </ac:spMkLst>
        </pc:spChg>
        <pc:spChg chg="add mod">
          <ac:chgData name="Jacob, Karen (SPAC/PSPC) (elle-la / she-her)" userId="66e9cce0-e37b-4645-a907-f7690bd68dfb" providerId="ADAL" clId="{871AC57A-6E3B-4D85-BA02-8D6F5065EA89}" dt="2024-06-21T12:43:01.524" v="419" actId="1036"/>
          <ac:spMkLst>
            <pc:docMk/>
            <pc:sldMk cId="581567723" sldId="4998"/>
            <ac:spMk id="140" creationId="{87C4F373-56FB-50EB-6CCC-792F927472E9}"/>
          </ac:spMkLst>
        </pc:spChg>
        <pc:spChg chg="add mod">
          <ac:chgData name="Jacob, Karen (SPAC/PSPC) (elle-la / she-her)" userId="66e9cce0-e37b-4645-a907-f7690bd68dfb" providerId="ADAL" clId="{871AC57A-6E3B-4D85-BA02-8D6F5065EA89}" dt="2024-06-21T12:43:01.524" v="419" actId="1036"/>
          <ac:spMkLst>
            <pc:docMk/>
            <pc:sldMk cId="581567723" sldId="4998"/>
            <ac:spMk id="141" creationId="{17FBC5D0-2E45-786B-E37F-05FC411779FD}"/>
          </ac:spMkLst>
        </pc:spChg>
        <pc:spChg chg="add mod">
          <ac:chgData name="Jacob, Karen (SPAC/PSPC) (elle-la / she-her)" userId="66e9cce0-e37b-4645-a907-f7690bd68dfb" providerId="ADAL" clId="{871AC57A-6E3B-4D85-BA02-8D6F5065EA89}" dt="2024-06-21T12:43:01.524" v="419" actId="1036"/>
          <ac:spMkLst>
            <pc:docMk/>
            <pc:sldMk cId="581567723" sldId="4998"/>
            <ac:spMk id="142" creationId="{04BB34E7-9632-DF5A-FACE-1B455C81662D}"/>
          </ac:spMkLst>
        </pc:spChg>
        <pc:spChg chg="add mod">
          <ac:chgData name="Jacob, Karen (SPAC/PSPC) (elle-la / she-her)" userId="66e9cce0-e37b-4645-a907-f7690bd68dfb" providerId="ADAL" clId="{871AC57A-6E3B-4D85-BA02-8D6F5065EA89}" dt="2024-06-21T12:43:01.524" v="419" actId="1036"/>
          <ac:spMkLst>
            <pc:docMk/>
            <pc:sldMk cId="581567723" sldId="4998"/>
            <ac:spMk id="143" creationId="{99299495-1A75-D054-0CD4-F2DDFCDAD165}"/>
          </ac:spMkLst>
        </pc:spChg>
        <pc:spChg chg="add mod">
          <ac:chgData name="Jacob, Karen (SPAC/PSPC) (elle-la / she-her)" userId="66e9cce0-e37b-4645-a907-f7690bd68dfb" providerId="ADAL" clId="{871AC57A-6E3B-4D85-BA02-8D6F5065EA89}" dt="2024-06-21T12:43:01.524" v="419" actId="1036"/>
          <ac:spMkLst>
            <pc:docMk/>
            <pc:sldMk cId="581567723" sldId="4998"/>
            <ac:spMk id="144" creationId="{1890C364-13EC-8AA3-D9B8-25BECFFB618D}"/>
          </ac:spMkLst>
        </pc:spChg>
        <pc:spChg chg="add mod">
          <ac:chgData name="Jacob, Karen (SPAC/PSPC) (elle-la / she-her)" userId="66e9cce0-e37b-4645-a907-f7690bd68dfb" providerId="ADAL" clId="{871AC57A-6E3B-4D85-BA02-8D6F5065EA89}" dt="2024-06-21T12:43:01.524" v="419" actId="1036"/>
          <ac:spMkLst>
            <pc:docMk/>
            <pc:sldMk cId="581567723" sldId="4998"/>
            <ac:spMk id="145" creationId="{241CF055-B551-C738-8FF7-32A5EE063159}"/>
          </ac:spMkLst>
        </pc:spChg>
        <pc:spChg chg="add mod">
          <ac:chgData name="Jacob, Karen (SPAC/PSPC) (elle-la / she-her)" userId="66e9cce0-e37b-4645-a907-f7690bd68dfb" providerId="ADAL" clId="{871AC57A-6E3B-4D85-BA02-8D6F5065EA89}" dt="2024-06-21T12:43:01.524" v="419" actId="1036"/>
          <ac:spMkLst>
            <pc:docMk/>
            <pc:sldMk cId="581567723" sldId="4998"/>
            <ac:spMk id="146" creationId="{0F0337CF-E057-1035-701B-8D0F6E4ED81A}"/>
          </ac:spMkLst>
        </pc:spChg>
        <pc:spChg chg="add mod">
          <ac:chgData name="Jacob, Karen (SPAC/PSPC) (elle-la / she-her)" userId="66e9cce0-e37b-4645-a907-f7690bd68dfb" providerId="ADAL" clId="{871AC57A-6E3B-4D85-BA02-8D6F5065EA89}" dt="2024-06-21T12:43:01.524" v="419" actId="1036"/>
          <ac:spMkLst>
            <pc:docMk/>
            <pc:sldMk cId="581567723" sldId="4998"/>
            <ac:spMk id="147" creationId="{343636E2-B99B-D259-C2B5-8C58D458FF2E}"/>
          </ac:spMkLst>
        </pc:spChg>
        <pc:spChg chg="add mod">
          <ac:chgData name="Jacob, Karen (SPAC/PSPC) (elle-la / she-her)" userId="66e9cce0-e37b-4645-a907-f7690bd68dfb" providerId="ADAL" clId="{871AC57A-6E3B-4D85-BA02-8D6F5065EA89}" dt="2024-06-21T12:43:01.524" v="419" actId="1036"/>
          <ac:spMkLst>
            <pc:docMk/>
            <pc:sldMk cId="581567723" sldId="4998"/>
            <ac:spMk id="148" creationId="{216AECD0-CB3C-DCEC-EA7D-EF9B06A71D9F}"/>
          </ac:spMkLst>
        </pc:spChg>
        <pc:grpChg chg="add del mod">
          <ac:chgData name="Jacob, Karen (SPAC/PSPC) (elle-la / she-her)" userId="66e9cce0-e37b-4645-a907-f7690bd68dfb" providerId="ADAL" clId="{871AC57A-6E3B-4D85-BA02-8D6F5065EA89}" dt="2024-06-04T20:06:17.686" v="40" actId="478"/>
          <ac:grpSpMkLst>
            <pc:docMk/>
            <pc:sldMk cId="581567723" sldId="4998"/>
            <ac:grpSpMk id="4" creationId="{35C0ED0D-C6FC-405B-61C1-EE256DB12F16}"/>
          </ac:grpSpMkLst>
        </pc:grpChg>
        <pc:grpChg chg="add mod">
          <ac:chgData name="Jacob, Karen (SPAC/PSPC) (elle-la / she-her)" userId="66e9cce0-e37b-4645-a907-f7690bd68dfb" providerId="ADAL" clId="{871AC57A-6E3B-4D85-BA02-8D6F5065EA89}" dt="2024-06-04T20:03:30.484" v="31"/>
          <ac:grpSpMkLst>
            <pc:docMk/>
            <pc:sldMk cId="581567723" sldId="4998"/>
            <ac:grpSpMk id="7" creationId="{A4804B27-59A4-4DE4-A06D-91FA03F621CB}"/>
          </ac:grpSpMkLst>
        </pc:grpChg>
        <pc:grpChg chg="add mod">
          <ac:chgData name="Jacob, Karen (SPAC/PSPC) (elle-la / she-her)" userId="66e9cce0-e37b-4645-a907-f7690bd68dfb" providerId="ADAL" clId="{871AC57A-6E3B-4D85-BA02-8D6F5065EA89}" dt="2024-06-04T20:03:30.484" v="31"/>
          <ac:grpSpMkLst>
            <pc:docMk/>
            <pc:sldMk cId="581567723" sldId="4998"/>
            <ac:grpSpMk id="8" creationId="{FC2EBF14-215E-44FF-90E2-30556AF69775}"/>
          </ac:grpSpMkLst>
        </pc:grpChg>
        <pc:grpChg chg="add mod">
          <ac:chgData name="Jacob, Karen (SPAC/PSPC) (elle-la / she-her)" userId="66e9cce0-e37b-4645-a907-f7690bd68dfb" providerId="ADAL" clId="{871AC57A-6E3B-4D85-BA02-8D6F5065EA89}" dt="2024-06-04T20:03:30.484" v="31"/>
          <ac:grpSpMkLst>
            <pc:docMk/>
            <pc:sldMk cId="581567723" sldId="4998"/>
            <ac:grpSpMk id="15" creationId="{9C5C2F43-BC26-413D-AF8B-2C27DABB20B5}"/>
          </ac:grpSpMkLst>
        </pc:grpChg>
        <pc:grpChg chg="add mod">
          <ac:chgData name="Jacob, Karen (SPAC/PSPC) (elle-la / she-her)" userId="66e9cce0-e37b-4645-a907-f7690bd68dfb" providerId="ADAL" clId="{871AC57A-6E3B-4D85-BA02-8D6F5065EA89}" dt="2024-06-04T20:03:30.484" v="31"/>
          <ac:grpSpMkLst>
            <pc:docMk/>
            <pc:sldMk cId="581567723" sldId="4998"/>
            <ac:grpSpMk id="18" creationId="{88B8FFC7-3D36-47A9-AB75-03447182B0BB}"/>
          </ac:grpSpMkLst>
        </pc:grpChg>
        <pc:grpChg chg="add mod">
          <ac:chgData name="Jacob, Karen (SPAC/PSPC) (elle-la / she-her)" userId="66e9cce0-e37b-4645-a907-f7690bd68dfb" providerId="ADAL" clId="{871AC57A-6E3B-4D85-BA02-8D6F5065EA89}" dt="2024-06-04T20:03:30.484" v="31"/>
          <ac:grpSpMkLst>
            <pc:docMk/>
            <pc:sldMk cId="581567723" sldId="4998"/>
            <ac:grpSpMk id="21" creationId="{84E686C2-70AC-438A-925F-E4FC81D9F796}"/>
          </ac:grpSpMkLst>
        </pc:grpChg>
        <pc:grpChg chg="add mod">
          <ac:chgData name="Jacob, Karen (SPAC/PSPC) (elle-la / she-her)" userId="66e9cce0-e37b-4645-a907-f7690bd68dfb" providerId="ADAL" clId="{871AC57A-6E3B-4D85-BA02-8D6F5065EA89}" dt="2024-06-04T20:03:30.484" v="31"/>
          <ac:grpSpMkLst>
            <pc:docMk/>
            <pc:sldMk cId="581567723" sldId="4998"/>
            <ac:grpSpMk id="65" creationId="{2FC49C24-D759-4C63-886F-4E8D78CB4F57}"/>
          </ac:grpSpMkLst>
        </pc:grpChg>
        <pc:grpChg chg="add mod">
          <ac:chgData name="Jacob, Karen (SPAC/PSPC) (elle-la / she-her)" userId="66e9cce0-e37b-4645-a907-f7690bd68dfb" providerId="ADAL" clId="{871AC57A-6E3B-4D85-BA02-8D6F5065EA89}" dt="2024-06-04T20:03:30.484" v="31"/>
          <ac:grpSpMkLst>
            <pc:docMk/>
            <pc:sldMk cId="581567723" sldId="4998"/>
            <ac:grpSpMk id="68" creationId="{0F2AE28F-95D0-4DC4-8FFE-E3F1122C58B6}"/>
          </ac:grpSpMkLst>
        </pc:grpChg>
        <pc:grpChg chg="add mod">
          <ac:chgData name="Jacob, Karen (SPAC/PSPC) (elle-la / she-her)" userId="66e9cce0-e37b-4645-a907-f7690bd68dfb" providerId="ADAL" clId="{871AC57A-6E3B-4D85-BA02-8D6F5065EA89}" dt="2024-06-04T20:03:30.484" v="31"/>
          <ac:grpSpMkLst>
            <pc:docMk/>
            <pc:sldMk cId="581567723" sldId="4998"/>
            <ac:grpSpMk id="71" creationId="{7FEC3C45-D739-47B9-8AF6-C85503573C83}"/>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19" creationId="{35030E9D-B4CE-0B9D-28C2-9F05C1F829FA}"/>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20" creationId="{A738861C-A5D5-34D0-85CF-51FD1F064393}"/>
          </ac:grpSpMkLst>
        </pc:grpChg>
        <pc:grpChg chg="add mod">
          <ac:chgData name="Jacob, Karen (SPAC/PSPC) (elle-la / she-her)" userId="66e9cce0-e37b-4645-a907-f7690bd68dfb" providerId="ADAL" clId="{871AC57A-6E3B-4D85-BA02-8D6F5065EA89}" dt="2024-07-09T15:19:03.396" v="7064" actId="1076"/>
          <ac:grpSpMkLst>
            <pc:docMk/>
            <pc:sldMk cId="581567723" sldId="4998"/>
            <ac:grpSpMk id="135" creationId="{DFC4213B-24A7-04FD-6312-18CA7ABB7C6D}"/>
          </ac:grpSpMkLst>
        </pc:grpChg>
        <pc:picChg chg="add mod">
          <ac:chgData name="Jacob, Karen (SPAC/PSPC) (elle-la / she-her)" userId="66e9cce0-e37b-4645-a907-f7690bd68dfb" providerId="ADAL" clId="{871AC57A-6E3B-4D85-BA02-8D6F5065EA89}" dt="2024-06-04T20:03:30.484" v="31"/>
          <ac:picMkLst>
            <pc:docMk/>
            <pc:sldMk cId="581567723" sldId="4998"/>
            <ac:picMk id="12" creationId="{DCFB8BD2-0F3D-CB20-461F-8E2960575415}"/>
          </ac:picMkLst>
        </pc:picChg>
        <pc:picChg chg="add mod">
          <ac:chgData name="Jacob, Karen (SPAC/PSPC) (elle-la / she-her)" userId="66e9cce0-e37b-4645-a907-f7690bd68dfb" providerId="ADAL" clId="{871AC57A-6E3B-4D85-BA02-8D6F5065EA89}" dt="2024-06-04T20:03:30.484" v="31"/>
          <ac:picMkLst>
            <pc:docMk/>
            <pc:sldMk cId="581567723" sldId="4998"/>
            <ac:picMk id="16" creationId="{D7BC6EDF-F66A-416C-9761-30729BD3A0C5}"/>
          </ac:picMkLst>
        </pc:picChg>
        <pc:picChg chg="add mod">
          <ac:chgData name="Jacob, Karen (SPAC/PSPC) (elle-la / she-her)" userId="66e9cce0-e37b-4645-a907-f7690bd68dfb" providerId="ADAL" clId="{871AC57A-6E3B-4D85-BA02-8D6F5065EA89}" dt="2024-06-04T20:03:30.484" v="31"/>
          <ac:picMkLst>
            <pc:docMk/>
            <pc:sldMk cId="581567723" sldId="4998"/>
            <ac:picMk id="66" creationId="{F3B40228-76E4-4F57-B2D4-EFE1D2C4486F}"/>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8" creationId="{72D7B425-467D-E300-99B1-FF1BD469BAA8}"/>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9" creationId="{E625BF06-9D3F-0649-97EF-1BA8A59764D7}"/>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3" creationId="{2C4D393D-1B54-98F0-19F7-D0F7CB3EDE01}"/>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4" creationId="{5BE65366-221B-6F0C-7BDE-1611F267E4E8}"/>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6" creationId="{8A40CC07-30C0-A29C-CFB2-A0D268F96E64}"/>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7" creationId="{E2CAB800-4796-CB87-2473-059A42A0D5AB}"/>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8" creationId="{2C59B320-7562-AC56-2510-16F73B114013}"/>
          </ac:picMkLst>
        </pc:picChg>
        <pc:cxnChg chg="add del mod">
          <ac:chgData name="Jacob, Karen (SPAC/PSPC) (elle-la / she-her)" userId="66e9cce0-e37b-4645-a907-f7690bd68dfb" providerId="ADAL" clId="{871AC57A-6E3B-4D85-BA02-8D6F5065EA89}" dt="2024-06-04T20:03:55.896" v="34" actId="478"/>
          <ac:cxnSpMkLst>
            <pc:docMk/>
            <pc:sldMk cId="581567723" sldId="4998"/>
            <ac:cxnSpMk id="13" creationId="{B4BC7E40-4305-7EA3-34AC-23BB03460576}"/>
          </ac:cxnSpMkLst>
        </pc:cxnChg>
        <pc:extLst>
          <p:ext xmlns:p="http://schemas.openxmlformats.org/presentationml/2006/main" uri="{D6D511B9-2390-475A-947B-AFAB55BFBCF1}">
            <pc226:cmChg xmlns:pc226="http://schemas.microsoft.com/office/powerpoint/2022/06/main/command" chg="add del mod">
              <pc226:chgData name="Jacob, Karen (SPAC/PSPC) (elle-la / she-her)" userId="66e9cce0-e37b-4645-a907-f7690bd68dfb" providerId="ADAL" clId="{871AC57A-6E3B-4D85-BA02-8D6F5065EA89}" dt="2024-06-21T12:40:04.987" v="178"/>
              <pc2:cmMkLst xmlns:pc2="http://schemas.microsoft.com/office/powerpoint/2019/9/main/command">
                <pc:docMk/>
                <pc:sldMk cId="581567723" sldId="4998"/>
                <pc2:cmMk id="{8B689772-4A83-43CA-95F3-45412B9C008A}"/>
              </pc2:cmMkLst>
              <pc226:cmRplyChg chg="add">
                <pc226:chgData name="Jacob, Karen (SPAC/PSPC) (elle-la / she-her)" userId="66e9cce0-e37b-4645-a907-f7690bd68dfb" providerId="ADAL" clId="{871AC57A-6E3B-4D85-BA02-8D6F5065EA89}" dt="2024-06-05T15:33:49.494" v="87"/>
                <pc2:cmRplyMkLst xmlns:pc2="http://schemas.microsoft.com/office/powerpoint/2019/9/main/command">
                  <pc:docMk/>
                  <pc:sldMk cId="581567723" sldId="4998"/>
                  <pc2:cmMk id="{8B689772-4A83-43CA-95F3-45412B9C008A}"/>
                  <pc2:cmRplyMk id="{F2FEFA6A-7CF3-4F29-A085-28EA1E15041D}"/>
                </pc2:cmRplyMkLst>
              </pc226:cmRplyChg>
            </pc226:cmChg>
          </p:ext>
        </pc:extLst>
      </pc:sldChg>
      <pc:sldChg chg="addSp modSp new mod addCm modCm">
        <pc:chgData name="Jacob, Karen (SPAC/PSPC) (elle-la / she-her)" userId="66e9cce0-e37b-4645-a907-f7690bd68dfb" providerId="ADAL" clId="{871AC57A-6E3B-4D85-BA02-8D6F5065EA89}" dt="2024-06-05T17:44:18.013" v="141"/>
        <pc:sldMkLst>
          <pc:docMk/>
          <pc:sldMk cId="3194185217" sldId="5000"/>
        </pc:sldMkLst>
        <pc:spChg chg="mod">
          <ac:chgData name="Jacob, Karen (SPAC/PSPC) (elle-la / she-her)" userId="66e9cce0-e37b-4645-a907-f7690bd68dfb" providerId="ADAL" clId="{871AC57A-6E3B-4D85-BA02-8D6F5065EA89}" dt="2024-06-04T20:04:42.682" v="38"/>
          <ac:spMkLst>
            <pc:docMk/>
            <pc:sldMk cId="3194185217" sldId="5000"/>
            <ac:spMk id="4" creationId="{58011242-3B58-087A-52DA-31351CD501E0}"/>
          </ac:spMkLst>
        </pc:spChg>
        <pc:spChg chg="mod">
          <ac:chgData name="Jacob, Karen (SPAC/PSPC) (elle-la / she-her)" userId="66e9cce0-e37b-4645-a907-f7690bd68dfb" providerId="ADAL" clId="{871AC57A-6E3B-4D85-BA02-8D6F5065EA89}" dt="2024-06-04T20:04:42.682" v="38"/>
          <ac:spMkLst>
            <pc:docMk/>
            <pc:sldMk cId="3194185217" sldId="5000"/>
            <ac:spMk id="5" creationId="{022AD1F7-CC8C-3292-5DCC-261E346D205F}"/>
          </ac:spMkLst>
        </pc:spChg>
        <pc:spChg chg="mod">
          <ac:chgData name="Jacob, Karen (SPAC/PSPC) (elle-la / she-her)" userId="66e9cce0-e37b-4645-a907-f7690bd68dfb" providerId="ADAL" clId="{871AC57A-6E3B-4D85-BA02-8D6F5065EA89}" dt="2024-06-04T20:04:42.682" v="38"/>
          <ac:spMkLst>
            <pc:docMk/>
            <pc:sldMk cId="3194185217" sldId="5000"/>
            <ac:spMk id="8" creationId="{B8D3236C-F5AD-B8FE-973F-67D3C1A9171D}"/>
          </ac:spMkLst>
        </pc:spChg>
        <pc:spChg chg="mod">
          <ac:chgData name="Jacob, Karen (SPAC/PSPC) (elle-la / she-her)" userId="66e9cce0-e37b-4645-a907-f7690bd68dfb" providerId="ADAL" clId="{871AC57A-6E3B-4D85-BA02-8D6F5065EA89}" dt="2024-06-04T20:04:42.682" v="38"/>
          <ac:spMkLst>
            <pc:docMk/>
            <pc:sldMk cId="3194185217" sldId="5000"/>
            <ac:spMk id="12" creationId="{9F58768A-F5F9-3AC4-6268-3A8E7F67BD06}"/>
          </ac:spMkLst>
        </pc:spChg>
        <pc:spChg chg="mod">
          <ac:chgData name="Jacob, Karen (SPAC/PSPC) (elle-la / she-her)" userId="66e9cce0-e37b-4645-a907-f7690bd68dfb" providerId="ADAL" clId="{871AC57A-6E3B-4D85-BA02-8D6F5065EA89}" dt="2024-06-04T20:04:42.682" v="38"/>
          <ac:spMkLst>
            <pc:docMk/>
            <pc:sldMk cId="3194185217" sldId="5000"/>
            <ac:spMk id="14" creationId="{9B6A7A23-1440-018C-FB55-8B1C9009263E}"/>
          </ac:spMkLst>
        </pc:spChg>
        <pc:spChg chg="mod">
          <ac:chgData name="Jacob, Karen (SPAC/PSPC) (elle-la / she-her)" userId="66e9cce0-e37b-4645-a907-f7690bd68dfb" providerId="ADAL" clId="{871AC57A-6E3B-4D85-BA02-8D6F5065EA89}" dt="2024-06-04T20:04:42.682" v="38"/>
          <ac:spMkLst>
            <pc:docMk/>
            <pc:sldMk cId="3194185217" sldId="5000"/>
            <ac:spMk id="15" creationId="{697BB04D-D5A9-EF9D-9DE3-EAE9709340EE}"/>
          </ac:spMkLst>
        </pc:spChg>
        <pc:spChg chg="mod">
          <ac:chgData name="Jacob, Karen (SPAC/PSPC) (elle-la / she-her)" userId="66e9cce0-e37b-4645-a907-f7690bd68dfb" providerId="ADAL" clId="{871AC57A-6E3B-4D85-BA02-8D6F5065EA89}" dt="2024-06-04T20:04:42.682" v="38"/>
          <ac:spMkLst>
            <pc:docMk/>
            <pc:sldMk cId="3194185217" sldId="5000"/>
            <ac:spMk id="17" creationId="{E809A576-517F-D6FE-2A09-5E88690E1076}"/>
          </ac:spMkLst>
        </pc:spChg>
        <pc:spChg chg="mod">
          <ac:chgData name="Jacob, Karen (SPAC/PSPC) (elle-la / she-her)" userId="66e9cce0-e37b-4645-a907-f7690bd68dfb" providerId="ADAL" clId="{871AC57A-6E3B-4D85-BA02-8D6F5065EA89}" dt="2024-06-04T20:04:42.682" v="38"/>
          <ac:spMkLst>
            <pc:docMk/>
            <pc:sldMk cId="3194185217" sldId="5000"/>
            <ac:spMk id="18" creationId="{99070905-81A6-326C-1DA9-2FC78FD03718}"/>
          </ac:spMkLst>
        </pc:spChg>
        <pc:spChg chg="mod">
          <ac:chgData name="Jacob, Karen (SPAC/PSPC) (elle-la / she-her)" userId="66e9cce0-e37b-4645-a907-f7690bd68dfb" providerId="ADAL" clId="{871AC57A-6E3B-4D85-BA02-8D6F5065EA89}" dt="2024-06-04T20:04:42.682" v="38"/>
          <ac:spMkLst>
            <pc:docMk/>
            <pc:sldMk cId="3194185217" sldId="5000"/>
            <ac:spMk id="19" creationId="{BFA234D2-120A-FD69-86AE-5FB98203EDF5}"/>
          </ac:spMkLst>
        </pc:spChg>
        <pc:spChg chg="mod">
          <ac:chgData name="Jacob, Karen (SPAC/PSPC) (elle-la / she-her)" userId="66e9cce0-e37b-4645-a907-f7690bd68dfb" providerId="ADAL" clId="{871AC57A-6E3B-4D85-BA02-8D6F5065EA89}" dt="2024-06-04T20:04:42.682" v="38"/>
          <ac:spMkLst>
            <pc:docMk/>
            <pc:sldMk cId="3194185217" sldId="5000"/>
            <ac:spMk id="20" creationId="{94DCBF09-ABA2-C4B6-97FC-220DA50B7E63}"/>
          </ac:spMkLst>
        </pc:spChg>
        <pc:spChg chg="mod">
          <ac:chgData name="Jacob, Karen (SPAC/PSPC) (elle-la / she-her)" userId="66e9cce0-e37b-4645-a907-f7690bd68dfb" providerId="ADAL" clId="{871AC57A-6E3B-4D85-BA02-8D6F5065EA89}" dt="2024-06-04T20:04:42.682" v="38"/>
          <ac:spMkLst>
            <pc:docMk/>
            <pc:sldMk cId="3194185217" sldId="5000"/>
            <ac:spMk id="21" creationId="{F0F688BB-42A1-D9B9-B9A0-C12D3974EA66}"/>
          </ac:spMkLst>
        </pc:spChg>
        <pc:spChg chg="mod">
          <ac:chgData name="Jacob, Karen (SPAC/PSPC) (elle-la / she-her)" userId="66e9cce0-e37b-4645-a907-f7690bd68dfb" providerId="ADAL" clId="{871AC57A-6E3B-4D85-BA02-8D6F5065EA89}" dt="2024-06-04T20:04:42.682" v="38"/>
          <ac:spMkLst>
            <pc:docMk/>
            <pc:sldMk cId="3194185217" sldId="5000"/>
            <ac:spMk id="22" creationId="{A41FBB0B-2102-57C6-0AD2-C0EFB2054B00}"/>
          </ac:spMkLst>
        </pc:spChg>
        <pc:spChg chg="mod">
          <ac:chgData name="Jacob, Karen (SPAC/PSPC) (elle-la / she-her)" userId="66e9cce0-e37b-4645-a907-f7690bd68dfb" providerId="ADAL" clId="{871AC57A-6E3B-4D85-BA02-8D6F5065EA89}" dt="2024-06-04T20:04:42.682" v="38"/>
          <ac:spMkLst>
            <pc:docMk/>
            <pc:sldMk cId="3194185217" sldId="5000"/>
            <ac:spMk id="23" creationId="{CAC9BBCC-16BF-2166-C575-6117AF67D5CE}"/>
          </ac:spMkLst>
        </pc:spChg>
        <pc:spChg chg="mod">
          <ac:chgData name="Jacob, Karen (SPAC/PSPC) (elle-la / she-her)" userId="66e9cce0-e37b-4645-a907-f7690bd68dfb" providerId="ADAL" clId="{871AC57A-6E3B-4D85-BA02-8D6F5065EA89}" dt="2024-06-04T20:04:42.682" v="38"/>
          <ac:spMkLst>
            <pc:docMk/>
            <pc:sldMk cId="3194185217" sldId="5000"/>
            <ac:spMk id="24" creationId="{05EA8BE3-E02E-CA95-5F0F-7220417D6DCA}"/>
          </ac:spMkLst>
        </pc:spChg>
        <pc:spChg chg="mod">
          <ac:chgData name="Jacob, Karen (SPAC/PSPC) (elle-la / she-her)" userId="66e9cce0-e37b-4645-a907-f7690bd68dfb" providerId="ADAL" clId="{871AC57A-6E3B-4D85-BA02-8D6F5065EA89}" dt="2024-06-04T20:04:42.682" v="38"/>
          <ac:spMkLst>
            <pc:docMk/>
            <pc:sldMk cId="3194185217" sldId="5000"/>
            <ac:spMk id="25" creationId="{0CFE0E3C-3A84-7713-B94B-DE9EDE116076}"/>
          </ac:spMkLst>
        </pc:spChg>
        <pc:spChg chg="mod">
          <ac:chgData name="Jacob, Karen (SPAC/PSPC) (elle-la / she-her)" userId="66e9cce0-e37b-4645-a907-f7690bd68dfb" providerId="ADAL" clId="{871AC57A-6E3B-4D85-BA02-8D6F5065EA89}" dt="2024-06-04T20:04:42.682" v="38"/>
          <ac:spMkLst>
            <pc:docMk/>
            <pc:sldMk cId="3194185217" sldId="5000"/>
            <ac:spMk id="26" creationId="{77B7338D-24BF-4F85-B000-845B3C243D12}"/>
          </ac:spMkLst>
        </pc:spChg>
        <pc:spChg chg="mod">
          <ac:chgData name="Jacob, Karen (SPAC/PSPC) (elle-la / she-her)" userId="66e9cce0-e37b-4645-a907-f7690bd68dfb" providerId="ADAL" clId="{871AC57A-6E3B-4D85-BA02-8D6F5065EA89}" dt="2024-06-04T20:04:42.682" v="38"/>
          <ac:spMkLst>
            <pc:docMk/>
            <pc:sldMk cId="3194185217" sldId="5000"/>
            <ac:spMk id="27" creationId="{1EADB5FE-B786-833B-39DB-D666DFB0E08B}"/>
          </ac:spMkLst>
        </pc:spChg>
        <pc:spChg chg="mod">
          <ac:chgData name="Jacob, Karen (SPAC/PSPC) (elle-la / she-her)" userId="66e9cce0-e37b-4645-a907-f7690bd68dfb" providerId="ADAL" clId="{871AC57A-6E3B-4D85-BA02-8D6F5065EA89}" dt="2024-06-04T20:04:42.682" v="38"/>
          <ac:spMkLst>
            <pc:docMk/>
            <pc:sldMk cId="3194185217" sldId="5000"/>
            <ac:spMk id="28" creationId="{35255DDD-5061-9149-E987-91D3D6A9ADA5}"/>
          </ac:spMkLst>
        </pc:spChg>
        <pc:spChg chg="mod">
          <ac:chgData name="Jacob, Karen (SPAC/PSPC) (elle-la / she-her)" userId="66e9cce0-e37b-4645-a907-f7690bd68dfb" providerId="ADAL" clId="{871AC57A-6E3B-4D85-BA02-8D6F5065EA89}" dt="2024-06-04T20:04:42.682" v="38"/>
          <ac:spMkLst>
            <pc:docMk/>
            <pc:sldMk cId="3194185217" sldId="5000"/>
            <ac:spMk id="29" creationId="{B769BDBB-1AFF-04EE-0B61-543741C62AE6}"/>
          </ac:spMkLst>
        </pc:spChg>
        <pc:spChg chg="mod">
          <ac:chgData name="Jacob, Karen (SPAC/PSPC) (elle-la / she-her)" userId="66e9cce0-e37b-4645-a907-f7690bd68dfb" providerId="ADAL" clId="{871AC57A-6E3B-4D85-BA02-8D6F5065EA89}" dt="2024-06-04T20:04:42.682" v="38"/>
          <ac:spMkLst>
            <pc:docMk/>
            <pc:sldMk cId="3194185217" sldId="5000"/>
            <ac:spMk id="30" creationId="{796D3174-7925-097A-3DAB-14D6614E2472}"/>
          </ac:spMkLst>
        </pc:spChg>
        <pc:spChg chg="mod">
          <ac:chgData name="Jacob, Karen (SPAC/PSPC) (elle-la / she-her)" userId="66e9cce0-e37b-4645-a907-f7690bd68dfb" providerId="ADAL" clId="{871AC57A-6E3B-4D85-BA02-8D6F5065EA89}" dt="2024-06-04T20:04:42.682" v="38"/>
          <ac:spMkLst>
            <pc:docMk/>
            <pc:sldMk cId="3194185217" sldId="5000"/>
            <ac:spMk id="31" creationId="{82EB5891-A5CA-3892-1503-ECDCEF930CDF}"/>
          </ac:spMkLst>
        </pc:spChg>
        <pc:spChg chg="mod">
          <ac:chgData name="Jacob, Karen (SPAC/PSPC) (elle-la / she-her)" userId="66e9cce0-e37b-4645-a907-f7690bd68dfb" providerId="ADAL" clId="{871AC57A-6E3B-4D85-BA02-8D6F5065EA89}" dt="2024-06-04T20:04:42.682" v="38"/>
          <ac:spMkLst>
            <pc:docMk/>
            <pc:sldMk cId="3194185217" sldId="5000"/>
            <ac:spMk id="32" creationId="{E4E3A91C-A0F3-2DBD-3A42-4B868F01CE67}"/>
          </ac:spMkLst>
        </pc:spChg>
        <pc:spChg chg="mod">
          <ac:chgData name="Jacob, Karen (SPAC/PSPC) (elle-la / she-her)" userId="66e9cce0-e37b-4645-a907-f7690bd68dfb" providerId="ADAL" clId="{871AC57A-6E3B-4D85-BA02-8D6F5065EA89}" dt="2024-06-04T20:04:42.682" v="38"/>
          <ac:spMkLst>
            <pc:docMk/>
            <pc:sldMk cId="3194185217" sldId="5000"/>
            <ac:spMk id="33" creationId="{0887182C-EA58-F4C8-0A6F-6284E60A0077}"/>
          </ac:spMkLst>
        </pc:spChg>
        <pc:spChg chg="mod">
          <ac:chgData name="Jacob, Karen (SPAC/PSPC) (elle-la / she-her)" userId="66e9cce0-e37b-4645-a907-f7690bd68dfb" providerId="ADAL" clId="{871AC57A-6E3B-4D85-BA02-8D6F5065EA89}" dt="2024-06-04T20:04:42.682" v="38"/>
          <ac:spMkLst>
            <pc:docMk/>
            <pc:sldMk cId="3194185217" sldId="5000"/>
            <ac:spMk id="34" creationId="{85F2CEB4-D0CB-A3BD-A40A-DDA728B058F9}"/>
          </ac:spMkLst>
        </pc:spChg>
        <pc:spChg chg="mod">
          <ac:chgData name="Jacob, Karen (SPAC/PSPC) (elle-la / she-her)" userId="66e9cce0-e37b-4645-a907-f7690bd68dfb" providerId="ADAL" clId="{871AC57A-6E3B-4D85-BA02-8D6F5065EA89}" dt="2024-06-04T20:04:42.682" v="38"/>
          <ac:spMkLst>
            <pc:docMk/>
            <pc:sldMk cId="3194185217" sldId="5000"/>
            <ac:spMk id="35" creationId="{F5C5410F-2121-82CA-883E-FE65EBEADE9B}"/>
          </ac:spMkLst>
        </pc:spChg>
        <pc:spChg chg="mod">
          <ac:chgData name="Jacob, Karen (SPAC/PSPC) (elle-la / she-her)" userId="66e9cce0-e37b-4645-a907-f7690bd68dfb" providerId="ADAL" clId="{871AC57A-6E3B-4D85-BA02-8D6F5065EA89}" dt="2024-06-04T20:04:42.682" v="38"/>
          <ac:spMkLst>
            <pc:docMk/>
            <pc:sldMk cId="3194185217" sldId="5000"/>
            <ac:spMk id="36" creationId="{E164CD8B-6519-6488-697B-850EC3B890A6}"/>
          </ac:spMkLst>
        </pc:spChg>
        <pc:spChg chg="mod">
          <ac:chgData name="Jacob, Karen (SPAC/PSPC) (elle-la / she-her)" userId="66e9cce0-e37b-4645-a907-f7690bd68dfb" providerId="ADAL" clId="{871AC57A-6E3B-4D85-BA02-8D6F5065EA89}" dt="2024-06-04T20:04:42.682" v="38"/>
          <ac:spMkLst>
            <pc:docMk/>
            <pc:sldMk cId="3194185217" sldId="5000"/>
            <ac:spMk id="37" creationId="{A8AC4175-8E9A-70C2-56A5-B068A8EFB7D5}"/>
          </ac:spMkLst>
        </pc:spChg>
        <pc:spChg chg="mod">
          <ac:chgData name="Jacob, Karen (SPAC/PSPC) (elle-la / she-her)" userId="66e9cce0-e37b-4645-a907-f7690bd68dfb" providerId="ADAL" clId="{871AC57A-6E3B-4D85-BA02-8D6F5065EA89}" dt="2024-06-04T20:04:42.682" v="38"/>
          <ac:spMkLst>
            <pc:docMk/>
            <pc:sldMk cId="3194185217" sldId="5000"/>
            <ac:spMk id="38" creationId="{67744030-6713-B9D7-0991-3B82A9C289EE}"/>
          </ac:spMkLst>
        </pc:spChg>
        <pc:spChg chg="mod">
          <ac:chgData name="Jacob, Karen (SPAC/PSPC) (elle-la / she-her)" userId="66e9cce0-e37b-4645-a907-f7690bd68dfb" providerId="ADAL" clId="{871AC57A-6E3B-4D85-BA02-8D6F5065EA89}" dt="2024-06-04T20:04:42.682" v="38"/>
          <ac:spMkLst>
            <pc:docMk/>
            <pc:sldMk cId="3194185217" sldId="5000"/>
            <ac:spMk id="39" creationId="{3E97E9F0-DC56-D100-7B11-AEF055A97DCA}"/>
          </ac:spMkLst>
        </pc:spChg>
        <pc:spChg chg="mod">
          <ac:chgData name="Jacob, Karen (SPAC/PSPC) (elle-la / she-her)" userId="66e9cce0-e37b-4645-a907-f7690bd68dfb" providerId="ADAL" clId="{871AC57A-6E3B-4D85-BA02-8D6F5065EA89}" dt="2024-06-04T20:04:42.682" v="38"/>
          <ac:spMkLst>
            <pc:docMk/>
            <pc:sldMk cId="3194185217" sldId="5000"/>
            <ac:spMk id="40" creationId="{F7073BE9-1671-FEE7-C881-346A3AE2C475}"/>
          </ac:spMkLst>
        </pc:spChg>
        <pc:spChg chg="mod">
          <ac:chgData name="Jacob, Karen (SPAC/PSPC) (elle-la / she-her)" userId="66e9cce0-e37b-4645-a907-f7690bd68dfb" providerId="ADAL" clId="{871AC57A-6E3B-4D85-BA02-8D6F5065EA89}" dt="2024-06-04T20:04:42.682" v="38"/>
          <ac:spMkLst>
            <pc:docMk/>
            <pc:sldMk cId="3194185217" sldId="5000"/>
            <ac:spMk id="41" creationId="{06CC2BB9-287A-6152-62E0-425567B829A1}"/>
          </ac:spMkLst>
        </pc:spChg>
        <pc:spChg chg="mod">
          <ac:chgData name="Jacob, Karen (SPAC/PSPC) (elle-la / she-her)" userId="66e9cce0-e37b-4645-a907-f7690bd68dfb" providerId="ADAL" clId="{871AC57A-6E3B-4D85-BA02-8D6F5065EA89}" dt="2024-06-04T20:04:42.682" v="38"/>
          <ac:spMkLst>
            <pc:docMk/>
            <pc:sldMk cId="3194185217" sldId="5000"/>
            <ac:spMk id="42" creationId="{6893D8D9-32DD-CF92-2CC1-CE7B0500E134}"/>
          </ac:spMkLst>
        </pc:spChg>
        <pc:spChg chg="mod">
          <ac:chgData name="Jacob, Karen (SPAC/PSPC) (elle-la / she-her)" userId="66e9cce0-e37b-4645-a907-f7690bd68dfb" providerId="ADAL" clId="{871AC57A-6E3B-4D85-BA02-8D6F5065EA89}" dt="2024-06-04T20:04:42.682" v="38"/>
          <ac:spMkLst>
            <pc:docMk/>
            <pc:sldMk cId="3194185217" sldId="5000"/>
            <ac:spMk id="43" creationId="{C333FD2E-87B7-6B14-3D2B-9E4CCA21AA9E}"/>
          </ac:spMkLst>
        </pc:spChg>
        <pc:spChg chg="mod">
          <ac:chgData name="Jacob, Karen (SPAC/PSPC) (elle-la / she-her)" userId="66e9cce0-e37b-4645-a907-f7690bd68dfb" providerId="ADAL" clId="{871AC57A-6E3B-4D85-BA02-8D6F5065EA89}" dt="2024-06-04T20:04:42.682" v="38"/>
          <ac:spMkLst>
            <pc:docMk/>
            <pc:sldMk cId="3194185217" sldId="5000"/>
            <ac:spMk id="44" creationId="{416A71BF-C1C4-B629-38F7-60E0683827BE}"/>
          </ac:spMkLst>
        </pc:spChg>
        <pc:spChg chg="mod">
          <ac:chgData name="Jacob, Karen (SPAC/PSPC) (elle-la / she-her)" userId="66e9cce0-e37b-4645-a907-f7690bd68dfb" providerId="ADAL" clId="{871AC57A-6E3B-4D85-BA02-8D6F5065EA89}" dt="2024-06-04T20:04:42.682" v="38"/>
          <ac:spMkLst>
            <pc:docMk/>
            <pc:sldMk cId="3194185217" sldId="5000"/>
            <ac:spMk id="45" creationId="{98C5E74F-CC52-BDD5-5039-BC7A60803549}"/>
          </ac:spMkLst>
        </pc:spChg>
        <pc:spChg chg="mod">
          <ac:chgData name="Jacob, Karen (SPAC/PSPC) (elle-la / she-her)" userId="66e9cce0-e37b-4645-a907-f7690bd68dfb" providerId="ADAL" clId="{871AC57A-6E3B-4D85-BA02-8D6F5065EA89}" dt="2024-06-04T20:04:42.682" v="38"/>
          <ac:spMkLst>
            <pc:docMk/>
            <pc:sldMk cId="3194185217" sldId="5000"/>
            <ac:spMk id="46" creationId="{F5D8FDAD-571E-8BED-294E-116FD8CF6864}"/>
          </ac:spMkLst>
        </pc:spChg>
        <pc:spChg chg="mod">
          <ac:chgData name="Jacob, Karen (SPAC/PSPC) (elle-la / she-her)" userId="66e9cce0-e37b-4645-a907-f7690bd68dfb" providerId="ADAL" clId="{871AC57A-6E3B-4D85-BA02-8D6F5065EA89}" dt="2024-06-04T20:04:42.682" v="38"/>
          <ac:spMkLst>
            <pc:docMk/>
            <pc:sldMk cId="3194185217" sldId="5000"/>
            <ac:spMk id="47" creationId="{3B176C01-B35C-12A0-C785-76E84702C722}"/>
          </ac:spMkLst>
        </pc:spChg>
        <pc:spChg chg="mod">
          <ac:chgData name="Jacob, Karen (SPAC/PSPC) (elle-la / she-her)" userId="66e9cce0-e37b-4645-a907-f7690bd68dfb" providerId="ADAL" clId="{871AC57A-6E3B-4D85-BA02-8D6F5065EA89}" dt="2024-06-04T20:04:42.682" v="38"/>
          <ac:spMkLst>
            <pc:docMk/>
            <pc:sldMk cId="3194185217" sldId="5000"/>
            <ac:spMk id="48" creationId="{CBCCEA58-A032-F97E-E1D2-BA10AAA854E1}"/>
          </ac:spMkLst>
        </pc:spChg>
        <pc:spChg chg="mod">
          <ac:chgData name="Jacob, Karen (SPAC/PSPC) (elle-la / she-her)" userId="66e9cce0-e37b-4645-a907-f7690bd68dfb" providerId="ADAL" clId="{871AC57A-6E3B-4D85-BA02-8D6F5065EA89}" dt="2024-06-04T20:04:42.682" v="38"/>
          <ac:spMkLst>
            <pc:docMk/>
            <pc:sldMk cId="3194185217" sldId="5000"/>
            <ac:spMk id="49" creationId="{A13F8D29-D7AF-4059-F46B-DB7C1E8CA600}"/>
          </ac:spMkLst>
        </pc:spChg>
        <pc:spChg chg="mod">
          <ac:chgData name="Jacob, Karen (SPAC/PSPC) (elle-la / she-her)" userId="66e9cce0-e37b-4645-a907-f7690bd68dfb" providerId="ADAL" clId="{871AC57A-6E3B-4D85-BA02-8D6F5065EA89}" dt="2024-06-04T20:04:42.682" v="38"/>
          <ac:spMkLst>
            <pc:docMk/>
            <pc:sldMk cId="3194185217" sldId="5000"/>
            <ac:spMk id="50" creationId="{8B2A6E12-EE1D-E7A4-79CD-487DA302FC38}"/>
          </ac:spMkLst>
        </pc:spChg>
        <pc:spChg chg="mod">
          <ac:chgData name="Jacob, Karen (SPAC/PSPC) (elle-la / she-her)" userId="66e9cce0-e37b-4645-a907-f7690bd68dfb" providerId="ADAL" clId="{871AC57A-6E3B-4D85-BA02-8D6F5065EA89}" dt="2024-06-04T20:04:42.682" v="38"/>
          <ac:spMkLst>
            <pc:docMk/>
            <pc:sldMk cId="3194185217" sldId="5000"/>
            <ac:spMk id="51" creationId="{0B3E6690-78E2-CF8D-8F0F-EA15ECF5FBD6}"/>
          </ac:spMkLst>
        </pc:spChg>
        <pc:spChg chg="mod">
          <ac:chgData name="Jacob, Karen (SPAC/PSPC) (elle-la / she-her)" userId="66e9cce0-e37b-4645-a907-f7690bd68dfb" providerId="ADAL" clId="{871AC57A-6E3B-4D85-BA02-8D6F5065EA89}" dt="2024-06-04T20:04:42.682" v="38"/>
          <ac:spMkLst>
            <pc:docMk/>
            <pc:sldMk cId="3194185217" sldId="5000"/>
            <ac:spMk id="52" creationId="{7DDC9965-13FC-63C2-649C-6DD553949BEA}"/>
          </ac:spMkLst>
        </pc:spChg>
        <pc:spChg chg="mod">
          <ac:chgData name="Jacob, Karen (SPAC/PSPC) (elle-la / she-her)" userId="66e9cce0-e37b-4645-a907-f7690bd68dfb" providerId="ADAL" clId="{871AC57A-6E3B-4D85-BA02-8D6F5065EA89}" dt="2024-06-04T20:04:42.682" v="38"/>
          <ac:spMkLst>
            <pc:docMk/>
            <pc:sldMk cId="3194185217" sldId="5000"/>
            <ac:spMk id="53" creationId="{E8CD7EF2-FC5D-142D-E39A-979698AF67B5}"/>
          </ac:spMkLst>
        </pc:spChg>
        <pc:spChg chg="mod">
          <ac:chgData name="Jacob, Karen (SPAC/PSPC) (elle-la / she-her)" userId="66e9cce0-e37b-4645-a907-f7690bd68dfb" providerId="ADAL" clId="{871AC57A-6E3B-4D85-BA02-8D6F5065EA89}" dt="2024-06-04T20:04:42.682" v="38"/>
          <ac:spMkLst>
            <pc:docMk/>
            <pc:sldMk cId="3194185217" sldId="5000"/>
            <ac:spMk id="54" creationId="{A2738999-A52D-6EBC-35EB-31AA0796BD36}"/>
          </ac:spMkLst>
        </pc:spChg>
        <pc:spChg chg="mod">
          <ac:chgData name="Jacob, Karen (SPAC/PSPC) (elle-la / she-her)" userId="66e9cce0-e37b-4645-a907-f7690bd68dfb" providerId="ADAL" clId="{871AC57A-6E3B-4D85-BA02-8D6F5065EA89}" dt="2024-06-04T20:04:42.682" v="38"/>
          <ac:spMkLst>
            <pc:docMk/>
            <pc:sldMk cId="3194185217" sldId="5000"/>
            <ac:spMk id="55" creationId="{6F996561-7321-3323-DBAF-F6D9CE1FF309}"/>
          </ac:spMkLst>
        </pc:spChg>
        <pc:spChg chg="mod">
          <ac:chgData name="Jacob, Karen (SPAC/PSPC) (elle-la / she-her)" userId="66e9cce0-e37b-4645-a907-f7690bd68dfb" providerId="ADAL" clId="{871AC57A-6E3B-4D85-BA02-8D6F5065EA89}" dt="2024-06-04T20:04:42.682" v="38"/>
          <ac:spMkLst>
            <pc:docMk/>
            <pc:sldMk cId="3194185217" sldId="5000"/>
            <ac:spMk id="56" creationId="{5A3ED452-BE60-181F-9C97-203C7BF40DA7}"/>
          </ac:spMkLst>
        </pc:spChg>
        <pc:spChg chg="mod">
          <ac:chgData name="Jacob, Karen (SPAC/PSPC) (elle-la / she-her)" userId="66e9cce0-e37b-4645-a907-f7690bd68dfb" providerId="ADAL" clId="{871AC57A-6E3B-4D85-BA02-8D6F5065EA89}" dt="2024-06-04T20:04:42.682" v="38"/>
          <ac:spMkLst>
            <pc:docMk/>
            <pc:sldMk cId="3194185217" sldId="5000"/>
            <ac:spMk id="57" creationId="{1EC8989F-4D83-6D20-1012-6F5C584E9D6D}"/>
          </ac:spMkLst>
        </pc:spChg>
        <pc:spChg chg="mod">
          <ac:chgData name="Jacob, Karen (SPAC/PSPC) (elle-la / she-her)" userId="66e9cce0-e37b-4645-a907-f7690bd68dfb" providerId="ADAL" clId="{871AC57A-6E3B-4D85-BA02-8D6F5065EA89}" dt="2024-06-04T20:04:42.682" v="38"/>
          <ac:spMkLst>
            <pc:docMk/>
            <pc:sldMk cId="3194185217" sldId="5000"/>
            <ac:spMk id="58" creationId="{815DE183-7218-A4B1-B860-C06F4309AA3D}"/>
          </ac:spMkLst>
        </pc:spChg>
        <pc:spChg chg="mod">
          <ac:chgData name="Jacob, Karen (SPAC/PSPC) (elle-la / she-her)" userId="66e9cce0-e37b-4645-a907-f7690bd68dfb" providerId="ADAL" clId="{871AC57A-6E3B-4D85-BA02-8D6F5065EA89}" dt="2024-06-04T20:04:42.682" v="38"/>
          <ac:spMkLst>
            <pc:docMk/>
            <pc:sldMk cId="3194185217" sldId="5000"/>
            <ac:spMk id="59" creationId="{0CDCC43A-E910-ADA2-52ED-C41D553C3D75}"/>
          </ac:spMkLst>
        </pc:spChg>
        <pc:spChg chg="mod">
          <ac:chgData name="Jacob, Karen (SPAC/PSPC) (elle-la / she-her)" userId="66e9cce0-e37b-4645-a907-f7690bd68dfb" providerId="ADAL" clId="{871AC57A-6E3B-4D85-BA02-8D6F5065EA89}" dt="2024-06-04T20:04:42.682" v="38"/>
          <ac:spMkLst>
            <pc:docMk/>
            <pc:sldMk cId="3194185217" sldId="5000"/>
            <ac:spMk id="62" creationId="{5782BE9B-2DA4-9E7F-B316-A6EE751FB6AD}"/>
          </ac:spMkLst>
        </pc:spChg>
        <pc:spChg chg="mod">
          <ac:chgData name="Jacob, Karen (SPAC/PSPC) (elle-la / she-her)" userId="66e9cce0-e37b-4645-a907-f7690bd68dfb" providerId="ADAL" clId="{871AC57A-6E3B-4D85-BA02-8D6F5065EA89}" dt="2024-06-04T20:04:42.682" v="38"/>
          <ac:spMkLst>
            <pc:docMk/>
            <pc:sldMk cId="3194185217" sldId="5000"/>
            <ac:spMk id="64" creationId="{45855FC7-0B38-C3F8-AFE7-BDEDD1B91CF4}"/>
          </ac:spMkLst>
        </pc:spChg>
        <pc:spChg chg="mod">
          <ac:chgData name="Jacob, Karen (SPAC/PSPC) (elle-la / she-her)" userId="66e9cce0-e37b-4645-a907-f7690bd68dfb" providerId="ADAL" clId="{871AC57A-6E3B-4D85-BA02-8D6F5065EA89}" dt="2024-06-04T20:04:42.682" v="38"/>
          <ac:spMkLst>
            <pc:docMk/>
            <pc:sldMk cId="3194185217" sldId="5000"/>
            <ac:spMk id="65" creationId="{F1D04CFE-85CE-CB35-D9A6-4088A8212AC2}"/>
          </ac:spMkLst>
        </pc:spChg>
        <pc:spChg chg="mod">
          <ac:chgData name="Jacob, Karen (SPAC/PSPC) (elle-la / she-her)" userId="66e9cce0-e37b-4645-a907-f7690bd68dfb" providerId="ADAL" clId="{871AC57A-6E3B-4D85-BA02-8D6F5065EA89}" dt="2024-06-04T20:04:42.682" v="38"/>
          <ac:spMkLst>
            <pc:docMk/>
            <pc:sldMk cId="3194185217" sldId="5000"/>
            <ac:spMk id="67" creationId="{1321C3BD-88DD-C688-5910-FBAD83F66D2C}"/>
          </ac:spMkLst>
        </pc:spChg>
        <pc:spChg chg="mod">
          <ac:chgData name="Jacob, Karen (SPAC/PSPC) (elle-la / she-her)" userId="66e9cce0-e37b-4645-a907-f7690bd68dfb" providerId="ADAL" clId="{871AC57A-6E3B-4D85-BA02-8D6F5065EA89}" dt="2024-06-04T20:04:42.682" v="38"/>
          <ac:spMkLst>
            <pc:docMk/>
            <pc:sldMk cId="3194185217" sldId="5000"/>
            <ac:spMk id="68" creationId="{AC66B73B-D041-44D2-DE28-1F67D152F3A1}"/>
          </ac:spMkLst>
        </pc:spChg>
        <pc:spChg chg="mod">
          <ac:chgData name="Jacob, Karen (SPAC/PSPC) (elle-la / she-her)" userId="66e9cce0-e37b-4645-a907-f7690bd68dfb" providerId="ADAL" clId="{871AC57A-6E3B-4D85-BA02-8D6F5065EA89}" dt="2024-06-04T20:04:42.682" v="38"/>
          <ac:spMkLst>
            <pc:docMk/>
            <pc:sldMk cId="3194185217" sldId="5000"/>
            <ac:spMk id="69" creationId="{CDB7C5CD-F4AC-8A66-5378-BF3E4CB2B2A8}"/>
          </ac:spMkLst>
        </pc:spChg>
        <pc:spChg chg="mod">
          <ac:chgData name="Jacob, Karen (SPAC/PSPC) (elle-la / she-her)" userId="66e9cce0-e37b-4645-a907-f7690bd68dfb" providerId="ADAL" clId="{871AC57A-6E3B-4D85-BA02-8D6F5065EA89}" dt="2024-06-04T20:04:42.682" v="38"/>
          <ac:spMkLst>
            <pc:docMk/>
            <pc:sldMk cId="3194185217" sldId="5000"/>
            <ac:spMk id="70" creationId="{0345FD51-2B7B-EF07-5887-2EBFDF34C717}"/>
          </ac:spMkLst>
        </pc:spChg>
        <pc:spChg chg="mod">
          <ac:chgData name="Jacob, Karen (SPAC/PSPC) (elle-la / she-her)" userId="66e9cce0-e37b-4645-a907-f7690bd68dfb" providerId="ADAL" clId="{871AC57A-6E3B-4D85-BA02-8D6F5065EA89}" dt="2024-06-04T20:04:42.682" v="38"/>
          <ac:spMkLst>
            <pc:docMk/>
            <pc:sldMk cId="3194185217" sldId="5000"/>
            <ac:spMk id="71" creationId="{C6BF1ADF-E135-B21B-74D8-9F28DBAAFD66}"/>
          </ac:spMkLst>
        </pc:spChg>
        <pc:spChg chg="mod">
          <ac:chgData name="Jacob, Karen (SPAC/PSPC) (elle-la / she-her)" userId="66e9cce0-e37b-4645-a907-f7690bd68dfb" providerId="ADAL" clId="{871AC57A-6E3B-4D85-BA02-8D6F5065EA89}" dt="2024-06-04T20:04:42.682" v="38"/>
          <ac:spMkLst>
            <pc:docMk/>
            <pc:sldMk cId="3194185217" sldId="5000"/>
            <ac:spMk id="72" creationId="{539BFB47-01E8-3E08-8FB1-2F7C72B27323}"/>
          </ac:spMkLst>
        </pc:spChg>
        <pc:spChg chg="mod">
          <ac:chgData name="Jacob, Karen (SPAC/PSPC) (elle-la / she-her)" userId="66e9cce0-e37b-4645-a907-f7690bd68dfb" providerId="ADAL" clId="{871AC57A-6E3B-4D85-BA02-8D6F5065EA89}" dt="2024-06-04T20:04:42.682" v="38"/>
          <ac:spMkLst>
            <pc:docMk/>
            <pc:sldMk cId="3194185217" sldId="5000"/>
            <ac:spMk id="73" creationId="{AC9D358B-D420-79BA-6D60-04D058CBF1FA}"/>
          </ac:spMkLst>
        </pc:spChg>
        <pc:spChg chg="mod">
          <ac:chgData name="Jacob, Karen (SPAC/PSPC) (elle-la / she-her)" userId="66e9cce0-e37b-4645-a907-f7690bd68dfb" providerId="ADAL" clId="{871AC57A-6E3B-4D85-BA02-8D6F5065EA89}" dt="2024-06-04T20:04:42.682" v="38"/>
          <ac:spMkLst>
            <pc:docMk/>
            <pc:sldMk cId="3194185217" sldId="5000"/>
            <ac:spMk id="74" creationId="{1B335456-D634-A7D1-484E-B60B8D80EDC3}"/>
          </ac:spMkLst>
        </pc:spChg>
        <pc:spChg chg="mod">
          <ac:chgData name="Jacob, Karen (SPAC/PSPC) (elle-la / she-her)" userId="66e9cce0-e37b-4645-a907-f7690bd68dfb" providerId="ADAL" clId="{871AC57A-6E3B-4D85-BA02-8D6F5065EA89}" dt="2024-06-04T20:04:42.682" v="38"/>
          <ac:spMkLst>
            <pc:docMk/>
            <pc:sldMk cId="3194185217" sldId="5000"/>
            <ac:spMk id="75" creationId="{21FEA7B0-C92C-4F85-D04E-D2A6ED4CADE4}"/>
          </ac:spMkLst>
        </pc:spChg>
        <pc:spChg chg="mod">
          <ac:chgData name="Jacob, Karen (SPAC/PSPC) (elle-la / she-her)" userId="66e9cce0-e37b-4645-a907-f7690bd68dfb" providerId="ADAL" clId="{871AC57A-6E3B-4D85-BA02-8D6F5065EA89}" dt="2024-06-04T20:04:42.682" v="38"/>
          <ac:spMkLst>
            <pc:docMk/>
            <pc:sldMk cId="3194185217" sldId="5000"/>
            <ac:spMk id="76" creationId="{ABEE8544-1D26-9200-CDF0-D1350CA08421}"/>
          </ac:spMkLst>
        </pc:spChg>
        <pc:spChg chg="mod">
          <ac:chgData name="Jacob, Karen (SPAC/PSPC) (elle-la / she-her)" userId="66e9cce0-e37b-4645-a907-f7690bd68dfb" providerId="ADAL" clId="{871AC57A-6E3B-4D85-BA02-8D6F5065EA89}" dt="2024-06-04T20:04:42.682" v="38"/>
          <ac:spMkLst>
            <pc:docMk/>
            <pc:sldMk cId="3194185217" sldId="5000"/>
            <ac:spMk id="77" creationId="{E44F8EE3-ED60-217F-00DB-6DEA5587984D}"/>
          </ac:spMkLst>
        </pc:spChg>
        <pc:spChg chg="mod">
          <ac:chgData name="Jacob, Karen (SPAC/PSPC) (elle-la / she-her)" userId="66e9cce0-e37b-4645-a907-f7690bd68dfb" providerId="ADAL" clId="{871AC57A-6E3B-4D85-BA02-8D6F5065EA89}" dt="2024-06-04T20:04:42.682" v="38"/>
          <ac:spMkLst>
            <pc:docMk/>
            <pc:sldMk cId="3194185217" sldId="5000"/>
            <ac:spMk id="78" creationId="{721FD5B1-B8E8-81F5-1A1C-B73F2499E044}"/>
          </ac:spMkLst>
        </pc:spChg>
        <pc:spChg chg="mod">
          <ac:chgData name="Jacob, Karen (SPAC/PSPC) (elle-la / she-her)" userId="66e9cce0-e37b-4645-a907-f7690bd68dfb" providerId="ADAL" clId="{871AC57A-6E3B-4D85-BA02-8D6F5065EA89}" dt="2024-06-04T20:04:42.682" v="38"/>
          <ac:spMkLst>
            <pc:docMk/>
            <pc:sldMk cId="3194185217" sldId="5000"/>
            <ac:spMk id="79" creationId="{59CB107C-EFA5-0571-874A-71E040057DA9}"/>
          </ac:spMkLst>
        </pc:spChg>
        <pc:spChg chg="mod">
          <ac:chgData name="Jacob, Karen (SPAC/PSPC) (elle-la / she-her)" userId="66e9cce0-e37b-4645-a907-f7690bd68dfb" providerId="ADAL" clId="{871AC57A-6E3B-4D85-BA02-8D6F5065EA89}" dt="2024-06-04T20:04:42.682" v="38"/>
          <ac:spMkLst>
            <pc:docMk/>
            <pc:sldMk cId="3194185217" sldId="5000"/>
            <ac:spMk id="80" creationId="{3628AC16-36E1-9F26-FCE2-3D4ACC068FED}"/>
          </ac:spMkLst>
        </pc:spChg>
        <pc:spChg chg="mod">
          <ac:chgData name="Jacob, Karen (SPAC/PSPC) (elle-la / she-her)" userId="66e9cce0-e37b-4645-a907-f7690bd68dfb" providerId="ADAL" clId="{871AC57A-6E3B-4D85-BA02-8D6F5065EA89}" dt="2024-06-04T20:04:42.682" v="38"/>
          <ac:spMkLst>
            <pc:docMk/>
            <pc:sldMk cId="3194185217" sldId="5000"/>
            <ac:spMk id="81" creationId="{55B8F6F9-30B5-38AD-5C41-FF97AE574FB1}"/>
          </ac:spMkLst>
        </pc:spChg>
        <pc:spChg chg="mod">
          <ac:chgData name="Jacob, Karen (SPAC/PSPC) (elle-la / she-her)" userId="66e9cce0-e37b-4645-a907-f7690bd68dfb" providerId="ADAL" clId="{871AC57A-6E3B-4D85-BA02-8D6F5065EA89}" dt="2024-06-04T20:04:42.682" v="38"/>
          <ac:spMkLst>
            <pc:docMk/>
            <pc:sldMk cId="3194185217" sldId="5000"/>
            <ac:spMk id="82" creationId="{04074352-6561-469C-9CA8-58B3994C0B48}"/>
          </ac:spMkLst>
        </pc:spChg>
        <pc:spChg chg="mod">
          <ac:chgData name="Jacob, Karen (SPAC/PSPC) (elle-la / she-her)" userId="66e9cce0-e37b-4645-a907-f7690bd68dfb" providerId="ADAL" clId="{871AC57A-6E3B-4D85-BA02-8D6F5065EA89}" dt="2024-06-04T20:04:42.682" v="38"/>
          <ac:spMkLst>
            <pc:docMk/>
            <pc:sldMk cId="3194185217" sldId="5000"/>
            <ac:spMk id="83" creationId="{1FF1D28E-71DB-BB24-D0F9-B7127B862037}"/>
          </ac:spMkLst>
        </pc:spChg>
        <pc:spChg chg="mod">
          <ac:chgData name="Jacob, Karen (SPAC/PSPC) (elle-la / she-her)" userId="66e9cce0-e37b-4645-a907-f7690bd68dfb" providerId="ADAL" clId="{871AC57A-6E3B-4D85-BA02-8D6F5065EA89}" dt="2024-06-04T20:04:42.682" v="38"/>
          <ac:spMkLst>
            <pc:docMk/>
            <pc:sldMk cId="3194185217" sldId="5000"/>
            <ac:spMk id="84" creationId="{4A95BE5C-9695-5A49-5F7B-42E0D306B511}"/>
          </ac:spMkLst>
        </pc:spChg>
        <pc:spChg chg="mod">
          <ac:chgData name="Jacob, Karen (SPAC/PSPC) (elle-la / she-her)" userId="66e9cce0-e37b-4645-a907-f7690bd68dfb" providerId="ADAL" clId="{871AC57A-6E3B-4D85-BA02-8D6F5065EA89}" dt="2024-06-04T20:04:42.682" v="38"/>
          <ac:spMkLst>
            <pc:docMk/>
            <pc:sldMk cId="3194185217" sldId="5000"/>
            <ac:spMk id="85" creationId="{C71A26AD-7EF2-1E88-3459-C38894A489EA}"/>
          </ac:spMkLst>
        </pc:spChg>
        <pc:spChg chg="mod">
          <ac:chgData name="Jacob, Karen (SPAC/PSPC) (elle-la / she-her)" userId="66e9cce0-e37b-4645-a907-f7690bd68dfb" providerId="ADAL" clId="{871AC57A-6E3B-4D85-BA02-8D6F5065EA89}" dt="2024-06-04T20:04:42.682" v="38"/>
          <ac:spMkLst>
            <pc:docMk/>
            <pc:sldMk cId="3194185217" sldId="5000"/>
            <ac:spMk id="86" creationId="{E2DC76E6-D970-DFF5-B90F-B7A37D44948C}"/>
          </ac:spMkLst>
        </pc:spChg>
        <pc:spChg chg="mod">
          <ac:chgData name="Jacob, Karen (SPAC/PSPC) (elle-la / she-her)" userId="66e9cce0-e37b-4645-a907-f7690bd68dfb" providerId="ADAL" clId="{871AC57A-6E3B-4D85-BA02-8D6F5065EA89}" dt="2024-06-04T20:04:42.682" v="38"/>
          <ac:spMkLst>
            <pc:docMk/>
            <pc:sldMk cId="3194185217" sldId="5000"/>
            <ac:spMk id="87" creationId="{F30F4DAF-7030-3561-F330-42BCA5B33E01}"/>
          </ac:spMkLst>
        </pc:spChg>
        <pc:spChg chg="mod">
          <ac:chgData name="Jacob, Karen (SPAC/PSPC) (elle-la / she-her)" userId="66e9cce0-e37b-4645-a907-f7690bd68dfb" providerId="ADAL" clId="{871AC57A-6E3B-4D85-BA02-8D6F5065EA89}" dt="2024-06-04T20:04:42.682" v="38"/>
          <ac:spMkLst>
            <pc:docMk/>
            <pc:sldMk cId="3194185217" sldId="5000"/>
            <ac:spMk id="88" creationId="{3C579C58-B8F2-9B89-39A4-CE396AD876FA}"/>
          </ac:spMkLst>
        </pc:spChg>
        <pc:spChg chg="mod">
          <ac:chgData name="Jacob, Karen (SPAC/PSPC) (elle-la / she-her)" userId="66e9cce0-e37b-4645-a907-f7690bd68dfb" providerId="ADAL" clId="{871AC57A-6E3B-4D85-BA02-8D6F5065EA89}" dt="2024-06-04T20:04:42.682" v="38"/>
          <ac:spMkLst>
            <pc:docMk/>
            <pc:sldMk cId="3194185217" sldId="5000"/>
            <ac:spMk id="89" creationId="{77BAA2A7-9892-D252-FEB0-4274F4B26BFB}"/>
          </ac:spMkLst>
        </pc:spChg>
        <pc:spChg chg="mod">
          <ac:chgData name="Jacob, Karen (SPAC/PSPC) (elle-la / she-her)" userId="66e9cce0-e37b-4645-a907-f7690bd68dfb" providerId="ADAL" clId="{871AC57A-6E3B-4D85-BA02-8D6F5065EA89}" dt="2024-06-04T20:04:42.682" v="38"/>
          <ac:spMkLst>
            <pc:docMk/>
            <pc:sldMk cId="3194185217" sldId="5000"/>
            <ac:spMk id="90" creationId="{20801CB3-FA6C-754B-C6C6-26EDFB7EF772}"/>
          </ac:spMkLst>
        </pc:spChg>
        <pc:spChg chg="mod">
          <ac:chgData name="Jacob, Karen (SPAC/PSPC) (elle-la / she-her)" userId="66e9cce0-e37b-4645-a907-f7690bd68dfb" providerId="ADAL" clId="{871AC57A-6E3B-4D85-BA02-8D6F5065EA89}" dt="2024-06-04T20:04:42.682" v="38"/>
          <ac:spMkLst>
            <pc:docMk/>
            <pc:sldMk cId="3194185217" sldId="5000"/>
            <ac:spMk id="91" creationId="{0200689D-EE6B-6145-A12C-BE279410E9F1}"/>
          </ac:spMkLst>
        </pc:spChg>
        <pc:spChg chg="mod">
          <ac:chgData name="Jacob, Karen (SPAC/PSPC) (elle-la / she-her)" userId="66e9cce0-e37b-4645-a907-f7690bd68dfb" providerId="ADAL" clId="{871AC57A-6E3B-4D85-BA02-8D6F5065EA89}" dt="2024-06-04T20:04:42.682" v="38"/>
          <ac:spMkLst>
            <pc:docMk/>
            <pc:sldMk cId="3194185217" sldId="5000"/>
            <ac:spMk id="92" creationId="{2B387E84-5579-4099-4E6C-397361752321}"/>
          </ac:spMkLst>
        </pc:spChg>
        <pc:spChg chg="mod">
          <ac:chgData name="Jacob, Karen (SPAC/PSPC) (elle-la / she-her)" userId="66e9cce0-e37b-4645-a907-f7690bd68dfb" providerId="ADAL" clId="{871AC57A-6E3B-4D85-BA02-8D6F5065EA89}" dt="2024-06-04T20:04:42.682" v="38"/>
          <ac:spMkLst>
            <pc:docMk/>
            <pc:sldMk cId="3194185217" sldId="5000"/>
            <ac:spMk id="93" creationId="{9A0275B6-C321-7E11-4AF0-0FFBB26A3840}"/>
          </ac:spMkLst>
        </pc:spChg>
        <pc:spChg chg="mod">
          <ac:chgData name="Jacob, Karen (SPAC/PSPC) (elle-la / she-her)" userId="66e9cce0-e37b-4645-a907-f7690bd68dfb" providerId="ADAL" clId="{871AC57A-6E3B-4D85-BA02-8D6F5065EA89}" dt="2024-06-04T20:04:42.682" v="38"/>
          <ac:spMkLst>
            <pc:docMk/>
            <pc:sldMk cId="3194185217" sldId="5000"/>
            <ac:spMk id="94" creationId="{816E36D8-4D0D-276D-9D29-0E1CF4EA29AF}"/>
          </ac:spMkLst>
        </pc:spChg>
        <pc:spChg chg="mod">
          <ac:chgData name="Jacob, Karen (SPAC/PSPC) (elle-la / she-her)" userId="66e9cce0-e37b-4645-a907-f7690bd68dfb" providerId="ADAL" clId="{871AC57A-6E3B-4D85-BA02-8D6F5065EA89}" dt="2024-06-04T20:04:42.682" v="38"/>
          <ac:spMkLst>
            <pc:docMk/>
            <pc:sldMk cId="3194185217" sldId="5000"/>
            <ac:spMk id="95" creationId="{B406834C-98FA-B5CC-19A2-C0A6B60B4A99}"/>
          </ac:spMkLst>
        </pc:spChg>
        <pc:spChg chg="mod">
          <ac:chgData name="Jacob, Karen (SPAC/PSPC) (elle-la / she-her)" userId="66e9cce0-e37b-4645-a907-f7690bd68dfb" providerId="ADAL" clId="{871AC57A-6E3B-4D85-BA02-8D6F5065EA89}" dt="2024-06-04T20:04:42.682" v="38"/>
          <ac:spMkLst>
            <pc:docMk/>
            <pc:sldMk cId="3194185217" sldId="5000"/>
            <ac:spMk id="96" creationId="{D23CECA9-93C2-90B1-7592-4A25ED3A0C27}"/>
          </ac:spMkLst>
        </pc:spChg>
        <pc:spChg chg="mod">
          <ac:chgData name="Jacob, Karen (SPAC/PSPC) (elle-la / she-her)" userId="66e9cce0-e37b-4645-a907-f7690bd68dfb" providerId="ADAL" clId="{871AC57A-6E3B-4D85-BA02-8D6F5065EA89}" dt="2024-06-04T20:04:42.682" v="38"/>
          <ac:spMkLst>
            <pc:docMk/>
            <pc:sldMk cId="3194185217" sldId="5000"/>
            <ac:spMk id="97" creationId="{D72090B6-A1EC-D213-3FC8-3B15E5F8EE7B}"/>
          </ac:spMkLst>
        </pc:spChg>
        <pc:spChg chg="mod">
          <ac:chgData name="Jacob, Karen (SPAC/PSPC) (elle-la / she-her)" userId="66e9cce0-e37b-4645-a907-f7690bd68dfb" providerId="ADAL" clId="{871AC57A-6E3B-4D85-BA02-8D6F5065EA89}" dt="2024-06-04T20:04:42.682" v="38"/>
          <ac:spMkLst>
            <pc:docMk/>
            <pc:sldMk cId="3194185217" sldId="5000"/>
            <ac:spMk id="98" creationId="{ADAB80AC-6DD5-8EE6-B759-3EA42BF3ACFD}"/>
          </ac:spMkLst>
        </pc:spChg>
        <pc:spChg chg="mod">
          <ac:chgData name="Jacob, Karen (SPAC/PSPC) (elle-la / she-her)" userId="66e9cce0-e37b-4645-a907-f7690bd68dfb" providerId="ADAL" clId="{871AC57A-6E3B-4D85-BA02-8D6F5065EA89}" dt="2024-06-04T20:04:42.682" v="38"/>
          <ac:spMkLst>
            <pc:docMk/>
            <pc:sldMk cId="3194185217" sldId="5000"/>
            <ac:spMk id="99" creationId="{389D62A2-FE11-DD73-317F-43A87E51B559}"/>
          </ac:spMkLst>
        </pc:spChg>
        <pc:spChg chg="mod">
          <ac:chgData name="Jacob, Karen (SPAC/PSPC) (elle-la / she-her)" userId="66e9cce0-e37b-4645-a907-f7690bd68dfb" providerId="ADAL" clId="{871AC57A-6E3B-4D85-BA02-8D6F5065EA89}" dt="2024-06-04T20:04:42.682" v="38"/>
          <ac:spMkLst>
            <pc:docMk/>
            <pc:sldMk cId="3194185217" sldId="5000"/>
            <ac:spMk id="100" creationId="{D91AB6BE-C04A-6C05-113A-8ADF629FDD96}"/>
          </ac:spMkLst>
        </pc:spChg>
        <pc:spChg chg="mod">
          <ac:chgData name="Jacob, Karen (SPAC/PSPC) (elle-la / she-her)" userId="66e9cce0-e37b-4645-a907-f7690bd68dfb" providerId="ADAL" clId="{871AC57A-6E3B-4D85-BA02-8D6F5065EA89}" dt="2024-06-04T20:04:42.682" v="38"/>
          <ac:spMkLst>
            <pc:docMk/>
            <pc:sldMk cId="3194185217" sldId="5000"/>
            <ac:spMk id="101" creationId="{D19B3D59-CE70-9AAF-5F4D-AD2B21591581}"/>
          </ac:spMkLst>
        </pc:spChg>
        <pc:spChg chg="mod">
          <ac:chgData name="Jacob, Karen (SPAC/PSPC) (elle-la / she-her)" userId="66e9cce0-e37b-4645-a907-f7690bd68dfb" providerId="ADAL" clId="{871AC57A-6E3B-4D85-BA02-8D6F5065EA89}" dt="2024-06-04T20:04:42.682" v="38"/>
          <ac:spMkLst>
            <pc:docMk/>
            <pc:sldMk cId="3194185217" sldId="5000"/>
            <ac:spMk id="102" creationId="{5F15206B-AF40-C0D7-43C0-FCBF2BE3D662}"/>
          </ac:spMkLst>
        </pc:spChg>
        <pc:spChg chg="mod">
          <ac:chgData name="Jacob, Karen (SPAC/PSPC) (elle-la / she-her)" userId="66e9cce0-e37b-4645-a907-f7690bd68dfb" providerId="ADAL" clId="{871AC57A-6E3B-4D85-BA02-8D6F5065EA89}" dt="2024-06-04T20:04:42.682" v="38"/>
          <ac:spMkLst>
            <pc:docMk/>
            <pc:sldMk cId="3194185217" sldId="5000"/>
            <ac:spMk id="103" creationId="{73BCBDA4-3439-52CC-0AC5-E9A1BA5136E5}"/>
          </ac:spMkLst>
        </pc:spChg>
        <pc:spChg chg="mod">
          <ac:chgData name="Jacob, Karen (SPAC/PSPC) (elle-la / she-her)" userId="66e9cce0-e37b-4645-a907-f7690bd68dfb" providerId="ADAL" clId="{871AC57A-6E3B-4D85-BA02-8D6F5065EA89}" dt="2024-06-04T20:04:42.682" v="38"/>
          <ac:spMkLst>
            <pc:docMk/>
            <pc:sldMk cId="3194185217" sldId="5000"/>
            <ac:spMk id="104" creationId="{3F9EB8F3-DA5A-AF9B-C644-37D3658500E5}"/>
          </ac:spMkLst>
        </pc:spChg>
        <pc:spChg chg="mod">
          <ac:chgData name="Jacob, Karen (SPAC/PSPC) (elle-la / she-her)" userId="66e9cce0-e37b-4645-a907-f7690bd68dfb" providerId="ADAL" clId="{871AC57A-6E3B-4D85-BA02-8D6F5065EA89}" dt="2024-06-04T20:04:42.682" v="38"/>
          <ac:spMkLst>
            <pc:docMk/>
            <pc:sldMk cId="3194185217" sldId="5000"/>
            <ac:spMk id="105" creationId="{8BF6627A-8472-6A0E-56EB-E1B3F5F10BD3}"/>
          </ac:spMkLst>
        </pc:spChg>
        <pc:spChg chg="mod">
          <ac:chgData name="Jacob, Karen (SPAC/PSPC) (elle-la / she-her)" userId="66e9cce0-e37b-4645-a907-f7690bd68dfb" providerId="ADAL" clId="{871AC57A-6E3B-4D85-BA02-8D6F5065EA89}" dt="2024-06-04T20:04:42.682" v="38"/>
          <ac:spMkLst>
            <pc:docMk/>
            <pc:sldMk cId="3194185217" sldId="5000"/>
            <ac:spMk id="106" creationId="{5DD57F77-E0AF-D320-4623-3869B46E9703}"/>
          </ac:spMkLst>
        </pc:spChg>
        <pc:spChg chg="mod">
          <ac:chgData name="Jacob, Karen (SPAC/PSPC) (elle-la / she-her)" userId="66e9cce0-e37b-4645-a907-f7690bd68dfb" providerId="ADAL" clId="{871AC57A-6E3B-4D85-BA02-8D6F5065EA89}" dt="2024-06-04T20:04:42.682" v="38"/>
          <ac:spMkLst>
            <pc:docMk/>
            <pc:sldMk cId="3194185217" sldId="5000"/>
            <ac:spMk id="107" creationId="{DDCD925C-ECC0-F97C-9306-C165B8EA96D1}"/>
          </ac:spMkLst>
        </pc:spChg>
        <pc:spChg chg="mod">
          <ac:chgData name="Jacob, Karen (SPAC/PSPC) (elle-la / she-her)" userId="66e9cce0-e37b-4645-a907-f7690bd68dfb" providerId="ADAL" clId="{871AC57A-6E3B-4D85-BA02-8D6F5065EA89}" dt="2024-06-04T20:04:42.682" v="38"/>
          <ac:spMkLst>
            <pc:docMk/>
            <pc:sldMk cId="3194185217" sldId="5000"/>
            <ac:spMk id="108" creationId="{0E77B50D-F610-6699-DC7D-37A5BDDBAE68}"/>
          </ac:spMkLst>
        </pc:spChg>
        <pc:spChg chg="mod">
          <ac:chgData name="Jacob, Karen (SPAC/PSPC) (elle-la / she-her)" userId="66e9cce0-e37b-4645-a907-f7690bd68dfb" providerId="ADAL" clId="{871AC57A-6E3B-4D85-BA02-8D6F5065EA89}" dt="2024-06-04T20:04:42.682" v="38"/>
          <ac:spMkLst>
            <pc:docMk/>
            <pc:sldMk cId="3194185217" sldId="5000"/>
            <ac:spMk id="109" creationId="{8DC427F7-B6DC-88F8-B838-FFA6C60362CF}"/>
          </ac:spMkLst>
        </pc:spChg>
        <pc:grpChg chg="add mod">
          <ac:chgData name="Jacob, Karen (SPAC/PSPC) (elle-la / she-her)" userId="66e9cce0-e37b-4645-a907-f7690bd68dfb" providerId="ADAL" clId="{871AC57A-6E3B-4D85-BA02-8D6F5065EA89}" dt="2024-06-04T20:04:49.992" v="39" actId="1076"/>
          <ac:grpSpMkLst>
            <pc:docMk/>
            <pc:sldMk cId="3194185217" sldId="5000"/>
            <ac:grpSpMk id="3" creationId="{EAFCA7DA-B3A3-40D1-F2DD-88BF94C0FDEE}"/>
          </ac:grpSpMkLst>
        </pc:grpChg>
        <pc:grpChg chg="mod">
          <ac:chgData name="Jacob, Karen (SPAC/PSPC) (elle-la / she-her)" userId="66e9cce0-e37b-4645-a907-f7690bd68dfb" providerId="ADAL" clId="{871AC57A-6E3B-4D85-BA02-8D6F5065EA89}" dt="2024-06-04T20:04:42.682" v="38"/>
          <ac:grpSpMkLst>
            <pc:docMk/>
            <pc:sldMk cId="3194185217" sldId="5000"/>
            <ac:grpSpMk id="6" creationId="{0DE56BB4-308D-A654-219C-A500E6723FB2}"/>
          </ac:grpSpMkLst>
        </pc:grpChg>
        <pc:grpChg chg="mod">
          <ac:chgData name="Jacob, Karen (SPAC/PSPC) (elle-la / she-her)" userId="66e9cce0-e37b-4645-a907-f7690bd68dfb" providerId="ADAL" clId="{871AC57A-6E3B-4D85-BA02-8D6F5065EA89}" dt="2024-06-04T20:04:42.682" v="38"/>
          <ac:grpSpMkLst>
            <pc:docMk/>
            <pc:sldMk cId="3194185217" sldId="5000"/>
            <ac:grpSpMk id="7" creationId="{3CE29C31-5266-A23D-B16D-8E36CF33D450}"/>
          </ac:grpSpMkLst>
        </pc:grpChg>
        <pc:grpChg chg="mod">
          <ac:chgData name="Jacob, Karen (SPAC/PSPC) (elle-la / she-her)" userId="66e9cce0-e37b-4645-a907-f7690bd68dfb" providerId="ADAL" clId="{871AC57A-6E3B-4D85-BA02-8D6F5065EA89}" dt="2024-06-04T20:04:42.682" v="38"/>
          <ac:grpSpMkLst>
            <pc:docMk/>
            <pc:sldMk cId="3194185217" sldId="5000"/>
            <ac:grpSpMk id="10" creationId="{3D5CB0FE-E0FC-FBD6-513D-6DFA83E357B9}"/>
          </ac:grpSpMkLst>
        </pc:grpChg>
        <pc:grpChg chg="mod">
          <ac:chgData name="Jacob, Karen (SPAC/PSPC) (elle-la / she-her)" userId="66e9cce0-e37b-4645-a907-f7690bd68dfb" providerId="ADAL" clId="{871AC57A-6E3B-4D85-BA02-8D6F5065EA89}" dt="2024-06-04T20:04:42.682" v="38"/>
          <ac:grpSpMkLst>
            <pc:docMk/>
            <pc:sldMk cId="3194185217" sldId="5000"/>
            <ac:grpSpMk id="13" creationId="{F749FBA4-6C9D-0CDF-7180-93E2D3A08598}"/>
          </ac:grpSpMkLst>
        </pc:grpChg>
        <pc:grpChg chg="mod">
          <ac:chgData name="Jacob, Karen (SPAC/PSPC) (elle-la / she-her)" userId="66e9cce0-e37b-4645-a907-f7690bd68dfb" providerId="ADAL" clId="{871AC57A-6E3B-4D85-BA02-8D6F5065EA89}" dt="2024-06-04T20:04:42.682" v="38"/>
          <ac:grpSpMkLst>
            <pc:docMk/>
            <pc:sldMk cId="3194185217" sldId="5000"/>
            <ac:grpSpMk id="16" creationId="{AF651BEA-62A1-A2B8-AAC2-489C44D92640}"/>
          </ac:grpSpMkLst>
        </pc:grpChg>
        <pc:grpChg chg="mod">
          <ac:chgData name="Jacob, Karen (SPAC/PSPC) (elle-la / she-her)" userId="66e9cce0-e37b-4645-a907-f7690bd68dfb" providerId="ADAL" clId="{871AC57A-6E3B-4D85-BA02-8D6F5065EA89}" dt="2024-06-04T20:04:42.682" v="38"/>
          <ac:grpSpMkLst>
            <pc:docMk/>
            <pc:sldMk cId="3194185217" sldId="5000"/>
            <ac:grpSpMk id="60" creationId="{82FE7FD9-8BD5-08EF-9E22-AFEFFCC4C5B5}"/>
          </ac:grpSpMkLst>
        </pc:grpChg>
        <pc:grpChg chg="mod">
          <ac:chgData name="Jacob, Karen (SPAC/PSPC) (elle-la / she-her)" userId="66e9cce0-e37b-4645-a907-f7690bd68dfb" providerId="ADAL" clId="{871AC57A-6E3B-4D85-BA02-8D6F5065EA89}" dt="2024-06-04T20:04:42.682" v="38"/>
          <ac:grpSpMkLst>
            <pc:docMk/>
            <pc:sldMk cId="3194185217" sldId="5000"/>
            <ac:grpSpMk id="63" creationId="{1F253533-8F61-A98F-A047-62E035D20E2F}"/>
          </ac:grpSpMkLst>
        </pc:grpChg>
        <pc:grpChg chg="mod">
          <ac:chgData name="Jacob, Karen (SPAC/PSPC) (elle-la / she-her)" userId="66e9cce0-e37b-4645-a907-f7690bd68dfb" providerId="ADAL" clId="{871AC57A-6E3B-4D85-BA02-8D6F5065EA89}" dt="2024-06-04T20:04:42.682" v="38"/>
          <ac:grpSpMkLst>
            <pc:docMk/>
            <pc:sldMk cId="3194185217" sldId="5000"/>
            <ac:grpSpMk id="66" creationId="{B5065F49-4327-3E58-27D6-B67BE6060D1F}"/>
          </ac:grpSpMkLst>
        </pc:grpChg>
        <pc:picChg chg="mod">
          <ac:chgData name="Jacob, Karen (SPAC/PSPC) (elle-la / she-her)" userId="66e9cce0-e37b-4645-a907-f7690bd68dfb" providerId="ADAL" clId="{871AC57A-6E3B-4D85-BA02-8D6F5065EA89}" dt="2024-06-04T20:04:42.682" v="38"/>
          <ac:picMkLst>
            <pc:docMk/>
            <pc:sldMk cId="3194185217" sldId="5000"/>
            <ac:picMk id="9" creationId="{9F8A92B7-6443-26F8-64F5-FA19B8FA9AF0}"/>
          </ac:picMkLst>
        </pc:picChg>
        <pc:picChg chg="mod">
          <ac:chgData name="Jacob, Karen (SPAC/PSPC) (elle-la / she-her)" userId="66e9cce0-e37b-4645-a907-f7690bd68dfb" providerId="ADAL" clId="{871AC57A-6E3B-4D85-BA02-8D6F5065EA89}" dt="2024-06-04T20:04:42.682" v="38"/>
          <ac:picMkLst>
            <pc:docMk/>
            <pc:sldMk cId="3194185217" sldId="5000"/>
            <ac:picMk id="11" creationId="{643117AF-11BB-4D82-F9B1-D3525CF74A00}"/>
          </ac:picMkLst>
        </pc:picChg>
        <pc:picChg chg="mod">
          <ac:chgData name="Jacob, Karen (SPAC/PSPC) (elle-la / she-her)" userId="66e9cce0-e37b-4645-a907-f7690bd68dfb" providerId="ADAL" clId="{871AC57A-6E3B-4D85-BA02-8D6F5065EA89}" dt="2024-06-04T20:04:42.682" v="38"/>
          <ac:picMkLst>
            <pc:docMk/>
            <pc:sldMk cId="3194185217" sldId="5000"/>
            <ac:picMk id="61" creationId="{32F0EB88-3179-2E20-D0A5-98588731AA8B}"/>
          </ac:picMkLst>
        </pc:picChg>
        <pc:extLst>
          <p:ext xmlns:p="http://schemas.openxmlformats.org/presentationml/2006/main" uri="{D6D511B9-2390-475A-947B-AFAB55BFBCF1}">
            <pc226:cmChg xmlns:pc226="http://schemas.microsoft.com/office/powerpoint/2022/06/main/command" chg="add mod">
              <pc226:chgData name="Jacob, Karen (SPAC/PSPC) (elle-la / she-her)" userId="66e9cce0-e37b-4645-a907-f7690bd68dfb" providerId="ADAL" clId="{871AC57A-6E3B-4D85-BA02-8D6F5065EA89}" dt="2024-06-05T17:44:18.013" v="141"/>
              <pc2:cmMkLst xmlns:pc2="http://schemas.microsoft.com/office/powerpoint/2019/9/main/command">
                <pc:docMk/>
                <pc:sldMk cId="3194185217" sldId="5000"/>
                <pc2:cmMk id="{D8AF41D7-EAFF-41AE-AAA6-A98B0A870B29}"/>
              </pc2:cmMkLst>
            </pc226:cmChg>
          </p:ext>
        </pc:extLst>
      </pc:sldChg>
      <pc:sldChg chg="addSp modSp new mod">
        <pc:chgData name="Jacob, Karen (SPAC/PSPC) (elle-la / she-her)" userId="66e9cce0-e37b-4645-a907-f7690bd68dfb" providerId="ADAL" clId="{871AC57A-6E3B-4D85-BA02-8D6F5065EA89}" dt="2024-06-05T17:37:25.404" v="102" actId="20577"/>
        <pc:sldMkLst>
          <pc:docMk/>
          <pc:sldMk cId="518497710" sldId="5001"/>
        </pc:sldMkLst>
        <pc:spChg chg="mod">
          <ac:chgData name="Jacob, Karen (SPAC/PSPC) (elle-la / she-her)" userId="66e9cce0-e37b-4645-a907-f7690bd68dfb" providerId="ADAL" clId="{871AC57A-6E3B-4D85-BA02-8D6F5065EA89}" dt="2024-06-05T17:37:25.404" v="102" actId="20577"/>
          <ac:spMkLst>
            <pc:docMk/>
            <pc:sldMk cId="518497710" sldId="5001"/>
            <ac:spMk id="2" creationId="{A08B4284-4C03-05F5-D379-8D8D6E310467}"/>
          </ac:spMkLst>
        </pc:spChg>
        <pc:spChg chg="mod">
          <ac:chgData name="Jacob, Karen (SPAC/PSPC) (elle-la / she-her)" userId="66e9cce0-e37b-4645-a907-f7690bd68dfb" providerId="ADAL" clId="{871AC57A-6E3B-4D85-BA02-8D6F5065EA89}" dt="2024-06-05T17:37:10.834" v="89"/>
          <ac:spMkLst>
            <pc:docMk/>
            <pc:sldMk cId="518497710" sldId="5001"/>
            <ac:spMk id="6" creationId="{1EBFD59E-84D8-DA47-03B4-51CCCB6899B7}"/>
          </ac:spMkLst>
        </pc:spChg>
        <pc:spChg chg="mod">
          <ac:chgData name="Jacob, Karen (SPAC/PSPC) (elle-la / she-her)" userId="66e9cce0-e37b-4645-a907-f7690bd68dfb" providerId="ADAL" clId="{871AC57A-6E3B-4D85-BA02-8D6F5065EA89}" dt="2024-06-05T17:37:10.834" v="89"/>
          <ac:spMkLst>
            <pc:docMk/>
            <pc:sldMk cId="518497710" sldId="5001"/>
            <ac:spMk id="7" creationId="{CF63B6AD-D3BF-5F19-F196-DD2AEBEFE788}"/>
          </ac:spMkLst>
        </pc:spChg>
        <pc:spChg chg="mod">
          <ac:chgData name="Jacob, Karen (SPAC/PSPC) (elle-la / she-her)" userId="66e9cce0-e37b-4645-a907-f7690bd68dfb" providerId="ADAL" clId="{871AC57A-6E3B-4D85-BA02-8D6F5065EA89}" dt="2024-06-05T17:37:10.834" v="89"/>
          <ac:spMkLst>
            <pc:docMk/>
            <pc:sldMk cId="518497710" sldId="5001"/>
            <ac:spMk id="10" creationId="{457CC8A1-BCD8-7A86-B793-B14808DD7564}"/>
          </ac:spMkLst>
        </pc:spChg>
        <pc:spChg chg="mod">
          <ac:chgData name="Jacob, Karen (SPAC/PSPC) (elle-la / she-her)" userId="66e9cce0-e37b-4645-a907-f7690bd68dfb" providerId="ADAL" clId="{871AC57A-6E3B-4D85-BA02-8D6F5065EA89}" dt="2024-06-05T17:37:10.834" v="89"/>
          <ac:spMkLst>
            <pc:docMk/>
            <pc:sldMk cId="518497710" sldId="5001"/>
            <ac:spMk id="11" creationId="{56731887-2EBE-E547-4EBB-5B5933DDE1A8}"/>
          </ac:spMkLst>
        </pc:spChg>
        <pc:spChg chg="mod">
          <ac:chgData name="Jacob, Karen (SPAC/PSPC) (elle-la / she-her)" userId="66e9cce0-e37b-4645-a907-f7690bd68dfb" providerId="ADAL" clId="{871AC57A-6E3B-4D85-BA02-8D6F5065EA89}" dt="2024-06-05T17:37:10.834" v="89"/>
          <ac:spMkLst>
            <pc:docMk/>
            <pc:sldMk cId="518497710" sldId="5001"/>
            <ac:spMk id="20" creationId="{1320EC92-EEAC-DB95-E6E9-7763D5319CE4}"/>
          </ac:spMkLst>
        </pc:spChg>
        <pc:spChg chg="mod">
          <ac:chgData name="Jacob, Karen (SPAC/PSPC) (elle-la / she-her)" userId="66e9cce0-e37b-4645-a907-f7690bd68dfb" providerId="ADAL" clId="{871AC57A-6E3B-4D85-BA02-8D6F5065EA89}" dt="2024-06-05T17:37:10.834" v="89"/>
          <ac:spMkLst>
            <pc:docMk/>
            <pc:sldMk cId="518497710" sldId="5001"/>
            <ac:spMk id="23" creationId="{048D18F6-589B-C970-7ADB-93C7EEDD478A}"/>
          </ac:spMkLst>
        </pc:spChg>
        <pc:spChg chg="mod">
          <ac:chgData name="Jacob, Karen (SPAC/PSPC) (elle-la / she-her)" userId="66e9cce0-e37b-4645-a907-f7690bd68dfb" providerId="ADAL" clId="{871AC57A-6E3B-4D85-BA02-8D6F5065EA89}" dt="2024-06-05T17:37:10.834" v="89"/>
          <ac:spMkLst>
            <pc:docMk/>
            <pc:sldMk cId="518497710" sldId="5001"/>
            <ac:spMk id="26" creationId="{D8E6845A-468F-6E8C-CA13-3A84AB2C2FC2}"/>
          </ac:spMkLst>
        </pc:spChg>
        <pc:spChg chg="mod">
          <ac:chgData name="Jacob, Karen (SPAC/PSPC) (elle-la / she-her)" userId="66e9cce0-e37b-4645-a907-f7690bd68dfb" providerId="ADAL" clId="{871AC57A-6E3B-4D85-BA02-8D6F5065EA89}" dt="2024-06-05T17:37:10.834" v="89"/>
          <ac:spMkLst>
            <pc:docMk/>
            <pc:sldMk cId="518497710" sldId="5001"/>
            <ac:spMk id="27" creationId="{7B28D700-3A0B-C02A-3B7F-562CA82AE148}"/>
          </ac:spMkLst>
        </pc:spChg>
        <pc:spChg chg="mod">
          <ac:chgData name="Jacob, Karen (SPAC/PSPC) (elle-la / she-her)" userId="66e9cce0-e37b-4645-a907-f7690bd68dfb" providerId="ADAL" clId="{871AC57A-6E3B-4D85-BA02-8D6F5065EA89}" dt="2024-06-05T17:37:10.834" v="89"/>
          <ac:spMkLst>
            <pc:docMk/>
            <pc:sldMk cId="518497710" sldId="5001"/>
            <ac:spMk id="28" creationId="{A13B2825-4E33-9469-8E79-3A696E1FC532}"/>
          </ac:spMkLst>
        </pc:spChg>
        <pc:spChg chg="mod">
          <ac:chgData name="Jacob, Karen (SPAC/PSPC) (elle-la / she-her)" userId="66e9cce0-e37b-4645-a907-f7690bd68dfb" providerId="ADAL" clId="{871AC57A-6E3B-4D85-BA02-8D6F5065EA89}" dt="2024-06-05T17:37:10.834" v="89"/>
          <ac:spMkLst>
            <pc:docMk/>
            <pc:sldMk cId="518497710" sldId="5001"/>
            <ac:spMk id="32" creationId="{73CA3B37-C493-D4DC-C990-3D0CEACCF5CE}"/>
          </ac:spMkLst>
        </pc:spChg>
        <pc:spChg chg="mod">
          <ac:chgData name="Jacob, Karen (SPAC/PSPC) (elle-la / she-her)" userId="66e9cce0-e37b-4645-a907-f7690bd68dfb" providerId="ADAL" clId="{871AC57A-6E3B-4D85-BA02-8D6F5065EA89}" dt="2024-06-05T17:37:10.834" v="89"/>
          <ac:spMkLst>
            <pc:docMk/>
            <pc:sldMk cId="518497710" sldId="5001"/>
            <ac:spMk id="34" creationId="{6E97C84B-A870-D382-844F-10908278D3D2}"/>
          </ac:spMkLst>
        </pc:spChg>
        <pc:spChg chg="mod">
          <ac:chgData name="Jacob, Karen (SPAC/PSPC) (elle-la / she-her)" userId="66e9cce0-e37b-4645-a907-f7690bd68dfb" providerId="ADAL" clId="{871AC57A-6E3B-4D85-BA02-8D6F5065EA89}" dt="2024-06-05T17:37:10.834" v="89"/>
          <ac:spMkLst>
            <pc:docMk/>
            <pc:sldMk cId="518497710" sldId="5001"/>
            <ac:spMk id="37" creationId="{3E01CE16-DD57-54D0-D5C2-5477E6E326C9}"/>
          </ac:spMkLst>
        </pc:spChg>
        <pc:spChg chg="mod">
          <ac:chgData name="Jacob, Karen (SPAC/PSPC) (elle-la / she-her)" userId="66e9cce0-e37b-4645-a907-f7690bd68dfb" providerId="ADAL" clId="{871AC57A-6E3B-4D85-BA02-8D6F5065EA89}" dt="2024-06-05T17:37:10.834" v="89"/>
          <ac:spMkLst>
            <pc:docMk/>
            <pc:sldMk cId="518497710" sldId="5001"/>
            <ac:spMk id="38" creationId="{B49642AC-7882-5944-543A-BBBF2BB08728}"/>
          </ac:spMkLst>
        </pc:spChg>
        <pc:spChg chg="mod">
          <ac:chgData name="Jacob, Karen (SPAC/PSPC) (elle-la / she-her)" userId="66e9cce0-e37b-4645-a907-f7690bd68dfb" providerId="ADAL" clId="{871AC57A-6E3B-4D85-BA02-8D6F5065EA89}" dt="2024-06-05T17:37:10.834" v="89"/>
          <ac:spMkLst>
            <pc:docMk/>
            <pc:sldMk cId="518497710" sldId="5001"/>
            <ac:spMk id="39" creationId="{7DB85A7B-7D3B-1CD1-8FFD-619C75D813CC}"/>
          </ac:spMkLst>
        </pc:spChg>
        <pc:spChg chg="mod">
          <ac:chgData name="Jacob, Karen (SPAC/PSPC) (elle-la / she-her)" userId="66e9cce0-e37b-4645-a907-f7690bd68dfb" providerId="ADAL" clId="{871AC57A-6E3B-4D85-BA02-8D6F5065EA89}" dt="2024-06-05T17:37:10.834" v="89"/>
          <ac:spMkLst>
            <pc:docMk/>
            <pc:sldMk cId="518497710" sldId="5001"/>
            <ac:spMk id="40" creationId="{83C25A54-2AA7-3E16-0F85-6BFDE0EF284D}"/>
          </ac:spMkLst>
        </pc:spChg>
        <pc:spChg chg="mod">
          <ac:chgData name="Jacob, Karen (SPAC/PSPC) (elle-la / she-her)" userId="66e9cce0-e37b-4645-a907-f7690bd68dfb" providerId="ADAL" clId="{871AC57A-6E3B-4D85-BA02-8D6F5065EA89}" dt="2024-06-05T17:37:10.834" v="89"/>
          <ac:spMkLst>
            <pc:docMk/>
            <pc:sldMk cId="518497710" sldId="5001"/>
            <ac:spMk id="41" creationId="{3F3A0FF6-20D4-BA82-2A57-6840D1CDC073}"/>
          </ac:spMkLst>
        </pc:spChg>
        <pc:spChg chg="mod">
          <ac:chgData name="Jacob, Karen (SPAC/PSPC) (elle-la / she-her)" userId="66e9cce0-e37b-4645-a907-f7690bd68dfb" providerId="ADAL" clId="{871AC57A-6E3B-4D85-BA02-8D6F5065EA89}" dt="2024-06-05T17:37:10.834" v="89"/>
          <ac:spMkLst>
            <pc:docMk/>
            <pc:sldMk cId="518497710" sldId="5001"/>
            <ac:spMk id="42" creationId="{6BD7DDAD-5332-1C69-3B76-707D89C053EC}"/>
          </ac:spMkLst>
        </pc:spChg>
        <pc:spChg chg="mod">
          <ac:chgData name="Jacob, Karen (SPAC/PSPC) (elle-la / she-her)" userId="66e9cce0-e37b-4645-a907-f7690bd68dfb" providerId="ADAL" clId="{871AC57A-6E3B-4D85-BA02-8D6F5065EA89}" dt="2024-06-05T17:37:10.834" v="89"/>
          <ac:spMkLst>
            <pc:docMk/>
            <pc:sldMk cId="518497710" sldId="5001"/>
            <ac:spMk id="43" creationId="{9B2D08C8-7EB8-84F1-FC11-2A862F0C55E2}"/>
          </ac:spMkLst>
        </pc:spChg>
        <pc:spChg chg="mod">
          <ac:chgData name="Jacob, Karen (SPAC/PSPC) (elle-la / she-her)" userId="66e9cce0-e37b-4645-a907-f7690bd68dfb" providerId="ADAL" clId="{871AC57A-6E3B-4D85-BA02-8D6F5065EA89}" dt="2024-06-05T17:37:10.834" v="89"/>
          <ac:spMkLst>
            <pc:docMk/>
            <pc:sldMk cId="518497710" sldId="5001"/>
            <ac:spMk id="46" creationId="{5B6C7E67-1284-AB7F-933C-A3977E14505D}"/>
          </ac:spMkLst>
        </pc:spChg>
        <pc:spChg chg="mod">
          <ac:chgData name="Jacob, Karen (SPAC/PSPC) (elle-la / she-her)" userId="66e9cce0-e37b-4645-a907-f7690bd68dfb" providerId="ADAL" clId="{871AC57A-6E3B-4D85-BA02-8D6F5065EA89}" dt="2024-06-05T17:37:10.834" v="89"/>
          <ac:spMkLst>
            <pc:docMk/>
            <pc:sldMk cId="518497710" sldId="5001"/>
            <ac:spMk id="47" creationId="{413A0251-9E2C-6D19-7CD8-C14960D99BAC}"/>
          </ac:spMkLst>
        </pc:spChg>
        <pc:spChg chg="mod">
          <ac:chgData name="Jacob, Karen (SPAC/PSPC) (elle-la / she-her)" userId="66e9cce0-e37b-4645-a907-f7690bd68dfb" providerId="ADAL" clId="{871AC57A-6E3B-4D85-BA02-8D6F5065EA89}" dt="2024-06-05T17:37:10.834" v="89"/>
          <ac:spMkLst>
            <pc:docMk/>
            <pc:sldMk cId="518497710" sldId="5001"/>
            <ac:spMk id="48" creationId="{844E08BC-76D2-E8B3-5127-4E2A501BE785}"/>
          </ac:spMkLst>
        </pc:spChg>
        <pc:grpChg chg="add mod">
          <ac:chgData name="Jacob, Karen (SPAC/PSPC) (elle-la / she-her)" userId="66e9cce0-e37b-4645-a907-f7690bd68dfb" providerId="ADAL" clId="{871AC57A-6E3B-4D85-BA02-8D6F5065EA89}" dt="2024-06-05T17:37:14.009" v="90" actId="1076"/>
          <ac:grpSpMkLst>
            <pc:docMk/>
            <pc:sldMk cId="518497710" sldId="5001"/>
            <ac:grpSpMk id="3" creationId="{625C7B17-67B0-B769-0CCA-517263916851}"/>
          </ac:grpSpMkLst>
        </pc:grpChg>
        <pc:grpChg chg="mod">
          <ac:chgData name="Jacob, Karen (SPAC/PSPC) (elle-la / she-her)" userId="66e9cce0-e37b-4645-a907-f7690bd68dfb" providerId="ADAL" clId="{871AC57A-6E3B-4D85-BA02-8D6F5065EA89}" dt="2024-06-05T17:37:10.834" v="89"/>
          <ac:grpSpMkLst>
            <pc:docMk/>
            <pc:sldMk cId="518497710" sldId="5001"/>
            <ac:grpSpMk id="4" creationId="{B0C2251F-D48F-28F2-3B94-FA446FFF33C3}"/>
          </ac:grpSpMkLst>
        </pc:grpChg>
        <pc:grpChg chg="mod">
          <ac:chgData name="Jacob, Karen (SPAC/PSPC) (elle-la / she-her)" userId="66e9cce0-e37b-4645-a907-f7690bd68dfb" providerId="ADAL" clId="{871AC57A-6E3B-4D85-BA02-8D6F5065EA89}" dt="2024-06-05T17:37:10.834" v="89"/>
          <ac:grpSpMkLst>
            <pc:docMk/>
            <pc:sldMk cId="518497710" sldId="5001"/>
            <ac:grpSpMk id="5" creationId="{C92F5D3B-DBF4-64BB-F6B5-C78A080280CC}"/>
          </ac:grpSpMkLst>
        </pc:grpChg>
        <pc:grpChg chg="mod">
          <ac:chgData name="Jacob, Karen (SPAC/PSPC) (elle-la / she-her)" userId="66e9cce0-e37b-4645-a907-f7690bd68dfb" providerId="ADAL" clId="{871AC57A-6E3B-4D85-BA02-8D6F5065EA89}" dt="2024-06-05T17:37:10.834" v="89"/>
          <ac:grpSpMkLst>
            <pc:docMk/>
            <pc:sldMk cId="518497710" sldId="5001"/>
            <ac:grpSpMk id="8" creationId="{62A2C0C6-453A-45C9-7503-FA6BCBA32454}"/>
          </ac:grpSpMkLst>
        </pc:grpChg>
        <pc:grpChg chg="mod">
          <ac:chgData name="Jacob, Karen (SPAC/PSPC) (elle-la / she-her)" userId="66e9cce0-e37b-4645-a907-f7690bd68dfb" providerId="ADAL" clId="{871AC57A-6E3B-4D85-BA02-8D6F5065EA89}" dt="2024-06-05T17:37:10.834" v="89"/>
          <ac:grpSpMkLst>
            <pc:docMk/>
            <pc:sldMk cId="518497710" sldId="5001"/>
            <ac:grpSpMk id="9" creationId="{17D615BB-9901-A0AB-B1EE-65A9B81DEA53}"/>
          </ac:grpSpMkLst>
        </pc:grpChg>
        <pc:grpChg chg="mod">
          <ac:chgData name="Jacob, Karen (SPAC/PSPC) (elle-la / she-her)" userId="66e9cce0-e37b-4645-a907-f7690bd68dfb" providerId="ADAL" clId="{871AC57A-6E3B-4D85-BA02-8D6F5065EA89}" dt="2024-06-05T17:37:10.834" v="89"/>
          <ac:grpSpMkLst>
            <pc:docMk/>
            <pc:sldMk cId="518497710" sldId="5001"/>
            <ac:grpSpMk id="12" creationId="{A2AF9731-B461-7E98-7A68-9289BF9965B2}"/>
          </ac:grpSpMkLst>
        </pc:grpChg>
        <pc:grpChg chg="mod">
          <ac:chgData name="Jacob, Karen (SPAC/PSPC) (elle-la / she-her)" userId="66e9cce0-e37b-4645-a907-f7690bd68dfb" providerId="ADAL" clId="{871AC57A-6E3B-4D85-BA02-8D6F5065EA89}" dt="2024-06-05T17:37:10.834" v="89"/>
          <ac:grpSpMkLst>
            <pc:docMk/>
            <pc:sldMk cId="518497710" sldId="5001"/>
            <ac:grpSpMk id="13" creationId="{9F38E8B2-2E1F-AAE4-990B-50A5D8493565}"/>
          </ac:grpSpMkLst>
        </pc:grpChg>
        <pc:grpChg chg="mod">
          <ac:chgData name="Jacob, Karen (SPAC/PSPC) (elle-la / she-her)" userId="66e9cce0-e37b-4645-a907-f7690bd68dfb" providerId="ADAL" clId="{871AC57A-6E3B-4D85-BA02-8D6F5065EA89}" dt="2024-06-05T17:37:10.834" v="89"/>
          <ac:grpSpMkLst>
            <pc:docMk/>
            <pc:sldMk cId="518497710" sldId="5001"/>
            <ac:grpSpMk id="22" creationId="{F4470CBE-D7C2-6E14-9E56-6529C36CD845}"/>
          </ac:grpSpMkLst>
        </pc:grpChg>
        <pc:grpChg chg="mod">
          <ac:chgData name="Jacob, Karen (SPAC/PSPC) (elle-la / she-her)" userId="66e9cce0-e37b-4645-a907-f7690bd68dfb" providerId="ADAL" clId="{871AC57A-6E3B-4D85-BA02-8D6F5065EA89}" dt="2024-06-05T17:37:10.834" v="89"/>
          <ac:grpSpMkLst>
            <pc:docMk/>
            <pc:sldMk cId="518497710" sldId="5001"/>
            <ac:grpSpMk id="24" creationId="{F68B19A1-69FE-ED36-6B08-E37808532037}"/>
          </ac:grpSpMkLst>
        </pc:grpChg>
        <pc:grpChg chg="mod">
          <ac:chgData name="Jacob, Karen (SPAC/PSPC) (elle-la / she-her)" userId="66e9cce0-e37b-4645-a907-f7690bd68dfb" providerId="ADAL" clId="{871AC57A-6E3B-4D85-BA02-8D6F5065EA89}" dt="2024-06-05T17:37:10.834" v="89"/>
          <ac:grpSpMkLst>
            <pc:docMk/>
            <pc:sldMk cId="518497710" sldId="5001"/>
            <ac:grpSpMk id="25" creationId="{A74AB0C1-5E20-E00F-93B0-93DBC75BAD4F}"/>
          </ac:grpSpMkLst>
        </pc:grpChg>
        <pc:grpChg chg="mod">
          <ac:chgData name="Jacob, Karen (SPAC/PSPC) (elle-la / she-her)" userId="66e9cce0-e37b-4645-a907-f7690bd68dfb" providerId="ADAL" clId="{871AC57A-6E3B-4D85-BA02-8D6F5065EA89}" dt="2024-06-05T17:37:10.834" v="89"/>
          <ac:grpSpMkLst>
            <pc:docMk/>
            <pc:sldMk cId="518497710" sldId="5001"/>
            <ac:grpSpMk id="33" creationId="{0C7D2F65-26C1-B36D-5FD5-B0F28DEAA4DC}"/>
          </ac:grpSpMkLst>
        </pc:grpChg>
        <pc:grpChg chg="mod">
          <ac:chgData name="Jacob, Karen (SPAC/PSPC) (elle-la / she-her)" userId="66e9cce0-e37b-4645-a907-f7690bd68dfb" providerId="ADAL" clId="{871AC57A-6E3B-4D85-BA02-8D6F5065EA89}" dt="2024-06-05T17:37:10.834" v="89"/>
          <ac:grpSpMkLst>
            <pc:docMk/>
            <pc:sldMk cId="518497710" sldId="5001"/>
            <ac:grpSpMk id="35" creationId="{360DAC56-FCA8-C469-4163-9913B8D938A8}"/>
          </ac:grpSpMkLst>
        </pc:grpChg>
        <pc:picChg chg="mod">
          <ac:chgData name="Jacob, Karen (SPAC/PSPC) (elle-la / she-her)" userId="66e9cce0-e37b-4645-a907-f7690bd68dfb" providerId="ADAL" clId="{871AC57A-6E3B-4D85-BA02-8D6F5065EA89}" dt="2024-06-05T17:37:10.834" v="89"/>
          <ac:picMkLst>
            <pc:docMk/>
            <pc:sldMk cId="518497710" sldId="5001"/>
            <ac:picMk id="29" creationId="{B776609E-6A82-D11B-DA04-4EC1F2FA543C}"/>
          </ac:picMkLst>
        </pc:picChg>
        <pc:picChg chg="mod">
          <ac:chgData name="Jacob, Karen (SPAC/PSPC) (elle-la / she-her)" userId="66e9cce0-e37b-4645-a907-f7690bd68dfb" providerId="ADAL" clId="{871AC57A-6E3B-4D85-BA02-8D6F5065EA89}" dt="2024-06-05T17:37:10.834" v="89"/>
          <ac:picMkLst>
            <pc:docMk/>
            <pc:sldMk cId="518497710" sldId="5001"/>
            <ac:picMk id="30" creationId="{C195F44A-B343-F691-5430-7F040600CBBD}"/>
          </ac:picMkLst>
        </pc:picChg>
        <pc:picChg chg="mod">
          <ac:chgData name="Jacob, Karen (SPAC/PSPC) (elle-la / she-her)" userId="66e9cce0-e37b-4645-a907-f7690bd68dfb" providerId="ADAL" clId="{871AC57A-6E3B-4D85-BA02-8D6F5065EA89}" dt="2024-06-05T17:37:10.834" v="89"/>
          <ac:picMkLst>
            <pc:docMk/>
            <pc:sldMk cId="518497710" sldId="5001"/>
            <ac:picMk id="31" creationId="{B815B1E4-614A-DBDC-3889-587C7C7C1383}"/>
          </ac:picMkLst>
        </pc:picChg>
        <pc:cxnChg chg="mod">
          <ac:chgData name="Jacob, Karen (SPAC/PSPC) (elle-la / she-her)" userId="66e9cce0-e37b-4645-a907-f7690bd68dfb" providerId="ADAL" clId="{871AC57A-6E3B-4D85-BA02-8D6F5065EA89}" dt="2024-06-05T17:37:10.834" v="89"/>
          <ac:cxnSpMkLst>
            <pc:docMk/>
            <pc:sldMk cId="518497710" sldId="5001"/>
            <ac:cxnSpMk id="14" creationId="{69105A0F-730E-96A7-A4F5-6FA08C478B07}"/>
          </ac:cxnSpMkLst>
        </pc:cxnChg>
        <pc:cxnChg chg="mod">
          <ac:chgData name="Jacob, Karen (SPAC/PSPC) (elle-la / she-her)" userId="66e9cce0-e37b-4645-a907-f7690bd68dfb" providerId="ADAL" clId="{871AC57A-6E3B-4D85-BA02-8D6F5065EA89}" dt="2024-06-05T17:37:10.834" v="89"/>
          <ac:cxnSpMkLst>
            <pc:docMk/>
            <pc:sldMk cId="518497710" sldId="5001"/>
            <ac:cxnSpMk id="15" creationId="{5A2D7C2E-BC66-EFF3-F415-E50089134E03}"/>
          </ac:cxnSpMkLst>
        </pc:cxnChg>
        <pc:cxnChg chg="mod">
          <ac:chgData name="Jacob, Karen (SPAC/PSPC) (elle-la / she-her)" userId="66e9cce0-e37b-4645-a907-f7690bd68dfb" providerId="ADAL" clId="{871AC57A-6E3B-4D85-BA02-8D6F5065EA89}" dt="2024-06-05T17:37:10.834" v="89"/>
          <ac:cxnSpMkLst>
            <pc:docMk/>
            <pc:sldMk cId="518497710" sldId="5001"/>
            <ac:cxnSpMk id="16" creationId="{C95E4317-5CEB-FFF5-B35B-84277AA12261}"/>
          </ac:cxnSpMkLst>
        </pc:cxnChg>
        <pc:cxnChg chg="mod">
          <ac:chgData name="Jacob, Karen (SPAC/PSPC) (elle-la / she-her)" userId="66e9cce0-e37b-4645-a907-f7690bd68dfb" providerId="ADAL" clId="{871AC57A-6E3B-4D85-BA02-8D6F5065EA89}" dt="2024-06-05T17:37:10.834" v="89"/>
          <ac:cxnSpMkLst>
            <pc:docMk/>
            <pc:sldMk cId="518497710" sldId="5001"/>
            <ac:cxnSpMk id="17" creationId="{9A8DD48F-C908-C182-375D-FF23DC3654EC}"/>
          </ac:cxnSpMkLst>
        </pc:cxnChg>
        <pc:cxnChg chg="mod">
          <ac:chgData name="Jacob, Karen (SPAC/PSPC) (elle-la / she-her)" userId="66e9cce0-e37b-4645-a907-f7690bd68dfb" providerId="ADAL" clId="{871AC57A-6E3B-4D85-BA02-8D6F5065EA89}" dt="2024-06-05T17:37:10.834" v="89"/>
          <ac:cxnSpMkLst>
            <pc:docMk/>
            <pc:sldMk cId="518497710" sldId="5001"/>
            <ac:cxnSpMk id="18" creationId="{A99A346D-AA7D-FB2C-AADE-B156EEBF8EFF}"/>
          </ac:cxnSpMkLst>
        </pc:cxnChg>
        <pc:cxnChg chg="mod">
          <ac:chgData name="Jacob, Karen (SPAC/PSPC) (elle-la / she-her)" userId="66e9cce0-e37b-4645-a907-f7690bd68dfb" providerId="ADAL" clId="{871AC57A-6E3B-4D85-BA02-8D6F5065EA89}" dt="2024-06-05T17:37:10.834" v="89"/>
          <ac:cxnSpMkLst>
            <pc:docMk/>
            <pc:sldMk cId="518497710" sldId="5001"/>
            <ac:cxnSpMk id="19" creationId="{531D50E9-30AC-3622-9610-18889769AACF}"/>
          </ac:cxnSpMkLst>
        </pc:cxnChg>
        <pc:cxnChg chg="mod">
          <ac:chgData name="Jacob, Karen (SPAC/PSPC) (elle-la / she-her)" userId="66e9cce0-e37b-4645-a907-f7690bd68dfb" providerId="ADAL" clId="{871AC57A-6E3B-4D85-BA02-8D6F5065EA89}" dt="2024-06-05T17:37:10.834" v="89"/>
          <ac:cxnSpMkLst>
            <pc:docMk/>
            <pc:sldMk cId="518497710" sldId="5001"/>
            <ac:cxnSpMk id="21" creationId="{87D93834-D8E7-BCB1-BDDE-82FD7D374A39}"/>
          </ac:cxnSpMkLst>
        </pc:cxnChg>
        <pc:cxnChg chg="mod">
          <ac:chgData name="Jacob, Karen (SPAC/PSPC) (elle-la / she-her)" userId="66e9cce0-e37b-4645-a907-f7690bd68dfb" providerId="ADAL" clId="{871AC57A-6E3B-4D85-BA02-8D6F5065EA89}" dt="2024-06-05T17:37:10.834" v="89"/>
          <ac:cxnSpMkLst>
            <pc:docMk/>
            <pc:sldMk cId="518497710" sldId="5001"/>
            <ac:cxnSpMk id="36" creationId="{25D8C9A2-6F3E-E569-58B1-BD176D674A0E}"/>
          </ac:cxnSpMkLst>
        </pc:cxnChg>
        <pc:cxnChg chg="mod">
          <ac:chgData name="Jacob, Karen (SPAC/PSPC) (elle-la / she-her)" userId="66e9cce0-e37b-4645-a907-f7690bd68dfb" providerId="ADAL" clId="{871AC57A-6E3B-4D85-BA02-8D6F5065EA89}" dt="2024-06-05T17:37:10.834" v="89"/>
          <ac:cxnSpMkLst>
            <pc:docMk/>
            <pc:sldMk cId="518497710" sldId="5001"/>
            <ac:cxnSpMk id="44" creationId="{814FC7B9-6A10-B331-5F2F-C7DF82F83231}"/>
          </ac:cxnSpMkLst>
        </pc:cxnChg>
        <pc:cxnChg chg="mod">
          <ac:chgData name="Jacob, Karen (SPAC/PSPC) (elle-la / she-her)" userId="66e9cce0-e37b-4645-a907-f7690bd68dfb" providerId="ADAL" clId="{871AC57A-6E3B-4D85-BA02-8D6F5065EA89}" dt="2024-06-05T17:37:10.834" v="89"/>
          <ac:cxnSpMkLst>
            <pc:docMk/>
            <pc:sldMk cId="518497710" sldId="5001"/>
            <ac:cxnSpMk id="45" creationId="{D9CEAE31-86AF-4CE6-94E7-8299D8409C01}"/>
          </ac:cxnSpMkLst>
        </pc:cxnChg>
      </pc:sldChg>
      <pc:sldChg chg="ord">
        <pc:chgData name="Jacob, Karen (SPAC/PSPC) (elle-la / she-her)" userId="66e9cce0-e37b-4645-a907-f7690bd68dfb" providerId="ADAL" clId="{871AC57A-6E3B-4D85-BA02-8D6F5065EA89}" dt="2024-06-21T13:02:46.235" v="521"/>
        <pc:sldMkLst>
          <pc:docMk/>
          <pc:sldMk cId="1651678227" sldId="5001"/>
        </pc:sldMkLst>
      </pc:sldChg>
      <pc:sldChg chg="addSp delSp modSp new mod addCm">
        <pc:chgData name="Jacob, Karen (SPAC/PSPC) (elle-la / she-her)" userId="66e9cce0-e37b-4645-a907-f7690bd68dfb" providerId="ADAL" clId="{871AC57A-6E3B-4D85-BA02-8D6F5065EA89}" dt="2024-06-05T17:41:09.260" v="136"/>
        <pc:sldMkLst>
          <pc:docMk/>
          <pc:sldMk cId="677863844" sldId="5002"/>
        </pc:sldMkLst>
        <pc:spChg chg="del">
          <ac:chgData name="Jacob, Karen (SPAC/PSPC) (elle-la / she-her)" userId="66e9cce0-e37b-4645-a907-f7690bd68dfb" providerId="ADAL" clId="{871AC57A-6E3B-4D85-BA02-8D6F5065EA89}" dt="2024-06-05T17:38:08.376" v="104" actId="478"/>
          <ac:spMkLst>
            <pc:docMk/>
            <pc:sldMk cId="677863844" sldId="5002"/>
            <ac:spMk id="2" creationId="{16C09C89-2122-9E23-9128-8FC896A9BD72}"/>
          </ac:spMkLst>
        </pc:spChg>
        <pc:spChg chg="del">
          <ac:chgData name="Jacob, Karen (SPAC/PSPC) (elle-la / she-her)" userId="66e9cce0-e37b-4645-a907-f7690bd68dfb" providerId="ADAL" clId="{871AC57A-6E3B-4D85-BA02-8D6F5065EA89}" dt="2024-06-05T17:38:12.894" v="106" actId="478"/>
          <ac:spMkLst>
            <pc:docMk/>
            <pc:sldMk cId="677863844" sldId="5002"/>
            <ac:spMk id="3" creationId="{469B68B8-C8D6-6B1A-D48D-B7A7E5003311}"/>
          </ac:spMkLst>
        </pc:spChg>
        <pc:spChg chg="del">
          <ac:chgData name="Jacob, Karen (SPAC/PSPC) (elle-la / she-her)" userId="66e9cce0-e37b-4645-a907-f7690bd68dfb" providerId="ADAL" clId="{871AC57A-6E3B-4D85-BA02-8D6F5065EA89}" dt="2024-06-05T17:38:12.008" v="105" actId="478"/>
          <ac:spMkLst>
            <pc:docMk/>
            <pc:sldMk cId="677863844" sldId="5002"/>
            <ac:spMk id="4" creationId="{36FC58AF-1C5D-6F45-5EE9-28FDE8B64734}"/>
          </ac:spMkLst>
        </pc:spChg>
        <pc:spChg chg="mod">
          <ac:chgData name="Jacob, Karen (SPAC/PSPC) (elle-la / she-her)" userId="66e9cce0-e37b-4645-a907-f7690bd68dfb" providerId="ADAL" clId="{871AC57A-6E3B-4D85-BA02-8D6F5065EA89}" dt="2024-06-05T17:40:01.290" v="135" actId="20577"/>
          <ac:spMkLst>
            <pc:docMk/>
            <pc:sldMk cId="677863844" sldId="5002"/>
            <ac:spMk id="5" creationId="{5DE794F1-4D2B-1269-AFFC-8A6D53C7C572}"/>
          </ac:spMkLst>
        </pc:spChg>
        <pc:picChg chg="add mod">
          <ac:chgData name="Jacob, Karen (SPAC/PSPC) (elle-la / she-her)" userId="66e9cce0-e37b-4645-a907-f7690bd68dfb" providerId="ADAL" clId="{871AC57A-6E3B-4D85-BA02-8D6F5065EA89}" dt="2024-06-05T17:39:46.155" v="108" actId="1076"/>
          <ac:picMkLst>
            <pc:docMk/>
            <pc:sldMk cId="677863844" sldId="5002"/>
            <ac:picMk id="1026" creationId="{19666AA4-4EFD-83FC-490F-64FAEBCD85BC}"/>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1:09.260" v="136"/>
              <pc2:cmMkLst xmlns:pc2="http://schemas.microsoft.com/office/powerpoint/2019/9/main/command">
                <pc:docMk/>
                <pc:sldMk cId="677863844" sldId="5002"/>
                <pc2:cmMk id="{BA0189FD-BE2F-4246-ABEF-D6201C16CD1F}"/>
              </pc2:cmMkLst>
            </pc226:cmChg>
          </p:ext>
        </pc:extLst>
      </pc:sldChg>
      <pc:sldChg chg="addSp delSp modSp new del mod ord addCm">
        <pc:chgData name="Jacob, Karen (SPAC/PSPC) (elle-la / she-her)" userId="66e9cce0-e37b-4645-a907-f7690bd68dfb" providerId="ADAL" clId="{871AC57A-6E3B-4D85-BA02-8D6F5065EA89}" dt="2024-06-05T17:58:14.009" v="149" actId="47"/>
        <pc:sldMkLst>
          <pc:docMk/>
          <pc:sldMk cId="3046825340" sldId="5003"/>
        </pc:sldMkLst>
        <pc:spChg chg="del">
          <ac:chgData name="Jacob, Karen (SPAC/PSPC) (elle-la / she-her)" userId="66e9cce0-e37b-4645-a907-f7690bd68dfb" providerId="ADAL" clId="{871AC57A-6E3B-4D85-BA02-8D6F5065EA89}" dt="2024-06-05T17:42:06.189" v="138" actId="478"/>
          <ac:spMkLst>
            <pc:docMk/>
            <pc:sldMk cId="3046825340" sldId="5003"/>
            <ac:spMk id="2" creationId="{850D4D40-9852-4FAE-4EE1-A817E0B3A729}"/>
          </ac:spMkLst>
        </pc:spChg>
        <pc:spChg chg="add mod">
          <ac:chgData name="Jacob, Karen (SPAC/PSPC) (elle-la / she-her)" userId="66e9cce0-e37b-4645-a907-f7690bd68dfb" providerId="ADAL" clId="{871AC57A-6E3B-4D85-BA02-8D6F5065EA89}" dt="2024-06-05T17:42:06.862" v="139"/>
          <ac:spMkLst>
            <pc:docMk/>
            <pc:sldMk cId="3046825340" sldId="5003"/>
            <ac:spMk id="4" creationId="{94149456-D828-7631-D124-8216518C8B52}"/>
          </ac:spMkLst>
        </pc:spChg>
        <pc:spChg chg="add mod">
          <ac:chgData name="Jacob, Karen (SPAC/PSPC) (elle-la / she-her)" userId="66e9cce0-e37b-4645-a907-f7690bd68dfb" providerId="ADAL" clId="{871AC57A-6E3B-4D85-BA02-8D6F5065EA89}" dt="2024-06-05T17:42:06.862" v="139"/>
          <ac:spMkLst>
            <pc:docMk/>
            <pc:sldMk cId="3046825340" sldId="5003"/>
            <ac:spMk id="5" creationId="{3B5AB54E-48FF-960C-44EF-1B2ECEE0CD6B}"/>
          </ac:spMkLst>
        </pc:spChg>
        <pc:spChg chg="add mod">
          <ac:chgData name="Jacob, Karen (SPAC/PSPC) (elle-la / she-her)" userId="66e9cce0-e37b-4645-a907-f7690bd68dfb" providerId="ADAL" clId="{871AC57A-6E3B-4D85-BA02-8D6F5065EA89}" dt="2024-06-05T17:42:06.862" v="139"/>
          <ac:spMkLst>
            <pc:docMk/>
            <pc:sldMk cId="3046825340" sldId="5003"/>
            <ac:spMk id="6" creationId="{6E2F315B-B8F4-4487-9F8A-50A37E7589C1}"/>
          </ac:spMkLst>
        </pc:spChg>
        <pc:spChg chg="add mod">
          <ac:chgData name="Jacob, Karen (SPAC/PSPC) (elle-la / she-her)" userId="66e9cce0-e37b-4645-a907-f7690bd68dfb" providerId="ADAL" clId="{871AC57A-6E3B-4D85-BA02-8D6F5065EA89}" dt="2024-06-05T17:42:06.862" v="139"/>
          <ac:spMkLst>
            <pc:docMk/>
            <pc:sldMk cId="3046825340" sldId="5003"/>
            <ac:spMk id="7" creationId="{57BC91C3-1BAD-C13F-476E-749E95DF51BA}"/>
          </ac:spMkLst>
        </pc:spChg>
        <pc:spChg chg="mod">
          <ac:chgData name="Jacob, Karen (SPAC/PSPC) (elle-la / she-her)" userId="66e9cce0-e37b-4645-a907-f7690bd68dfb" providerId="ADAL" clId="{871AC57A-6E3B-4D85-BA02-8D6F5065EA89}" dt="2024-06-05T17:42:06.862" v="139"/>
          <ac:spMkLst>
            <pc:docMk/>
            <pc:sldMk cId="3046825340" sldId="5003"/>
            <ac:spMk id="10" creationId="{2DAF6016-13E7-552E-A9D7-A9E06AEE4AFB}"/>
          </ac:spMkLst>
        </pc:spChg>
        <pc:spChg chg="mod">
          <ac:chgData name="Jacob, Karen (SPAC/PSPC) (elle-la / she-her)" userId="66e9cce0-e37b-4645-a907-f7690bd68dfb" providerId="ADAL" clId="{871AC57A-6E3B-4D85-BA02-8D6F5065EA89}" dt="2024-06-05T17:42:06.862" v="139"/>
          <ac:spMkLst>
            <pc:docMk/>
            <pc:sldMk cId="3046825340" sldId="5003"/>
            <ac:spMk id="13" creationId="{DD1D6B6E-2BDE-22FE-E689-86279C5595A2}"/>
          </ac:spMkLst>
        </pc:spChg>
        <pc:spChg chg="add mod">
          <ac:chgData name="Jacob, Karen (SPAC/PSPC) (elle-la / she-her)" userId="66e9cce0-e37b-4645-a907-f7690bd68dfb" providerId="ADAL" clId="{871AC57A-6E3B-4D85-BA02-8D6F5065EA89}" dt="2024-06-05T17:42:06.862" v="139"/>
          <ac:spMkLst>
            <pc:docMk/>
            <pc:sldMk cId="3046825340" sldId="5003"/>
            <ac:spMk id="16" creationId="{88A67AC0-16A2-69DD-13FB-1AC24A1F4F68}"/>
          </ac:spMkLst>
        </pc:spChg>
        <pc:spChg chg="add mod">
          <ac:chgData name="Jacob, Karen (SPAC/PSPC) (elle-la / she-her)" userId="66e9cce0-e37b-4645-a907-f7690bd68dfb" providerId="ADAL" clId="{871AC57A-6E3B-4D85-BA02-8D6F5065EA89}" dt="2024-06-05T17:42:06.862" v="139"/>
          <ac:spMkLst>
            <pc:docMk/>
            <pc:sldMk cId="3046825340" sldId="5003"/>
            <ac:spMk id="17" creationId="{DD9938B7-537C-0486-7AB7-C0584C0660B2}"/>
          </ac:spMkLst>
        </pc:spChg>
        <pc:spChg chg="add mod">
          <ac:chgData name="Jacob, Karen (SPAC/PSPC) (elle-la / she-her)" userId="66e9cce0-e37b-4645-a907-f7690bd68dfb" providerId="ADAL" clId="{871AC57A-6E3B-4D85-BA02-8D6F5065EA89}" dt="2024-06-05T17:42:06.862" v="139"/>
          <ac:spMkLst>
            <pc:docMk/>
            <pc:sldMk cId="3046825340" sldId="5003"/>
            <ac:spMk id="18" creationId="{0D102F7D-0380-121B-D536-39842A725D07}"/>
          </ac:spMkLst>
        </pc:spChg>
        <pc:spChg chg="add mod">
          <ac:chgData name="Jacob, Karen (SPAC/PSPC) (elle-la / she-her)" userId="66e9cce0-e37b-4645-a907-f7690bd68dfb" providerId="ADAL" clId="{871AC57A-6E3B-4D85-BA02-8D6F5065EA89}" dt="2024-06-05T17:42:06.862" v="139"/>
          <ac:spMkLst>
            <pc:docMk/>
            <pc:sldMk cId="3046825340" sldId="5003"/>
            <ac:spMk id="19" creationId="{B9007843-083B-D939-99FB-850D52194D6F}"/>
          </ac:spMkLst>
        </pc:spChg>
        <pc:spChg chg="add mod">
          <ac:chgData name="Jacob, Karen (SPAC/PSPC) (elle-la / she-her)" userId="66e9cce0-e37b-4645-a907-f7690bd68dfb" providerId="ADAL" clId="{871AC57A-6E3B-4D85-BA02-8D6F5065EA89}" dt="2024-06-05T17:42:06.862" v="139"/>
          <ac:spMkLst>
            <pc:docMk/>
            <pc:sldMk cId="3046825340" sldId="5003"/>
            <ac:spMk id="21" creationId="{3FB4048D-02D4-0446-01EC-D092035F9B07}"/>
          </ac:spMkLst>
        </pc:spChg>
        <pc:spChg chg="add mod">
          <ac:chgData name="Jacob, Karen (SPAC/PSPC) (elle-la / she-her)" userId="66e9cce0-e37b-4645-a907-f7690bd68dfb" providerId="ADAL" clId="{871AC57A-6E3B-4D85-BA02-8D6F5065EA89}" dt="2024-06-05T17:42:06.862" v="139"/>
          <ac:spMkLst>
            <pc:docMk/>
            <pc:sldMk cId="3046825340" sldId="5003"/>
            <ac:spMk id="22" creationId="{8A974CF0-D716-C8B6-CDC3-D0DA155B85A6}"/>
          </ac:spMkLst>
        </pc:spChg>
        <pc:spChg chg="add mod">
          <ac:chgData name="Jacob, Karen (SPAC/PSPC) (elle-la / she-her)" userId="66e9cce0-e37b-4645-a907-f7690bd68dfb" providerId="ADAL" clId="{871AC57A-6E3B-4D85-BA02-8D6F5065EA89}" dt="2024-06-05T17:42:06.862" v="139"/>
          <ac:spMkLst>
            <pc:docMk/>
            <pc:sldMk cId="3046825340" sldId="5003"/>
            <ac:spMk id="23" creationId="{BF8B0AF6-C8BE-E1A1-29AC-9642706882EA}"/>
          </ac:spMkLst>
        </pc:spChg>
        <pc:spChg chg="add mod">
          <ac:chgData name="Jacob, Karen (SPAC/PSPC) (elle-la / she-her)" userId="66e9cce0-e37b-4645-a907-f7690bd68dfb" providerId="ADAL" clId="{871AC57A-6E3B-4D85-BA02-8D6F5065EA89}" dt="2024-06-05T17:42:06.862" v="139"/>
          <ac:spMkLst>
            <pc:docMk/>
            <pc:sldMk cId="3046825340" sldId="5003"/>
            <ac:spMk id="24" creationId="{B237313A-AA45-A5D6-D2A8-26AA1F9A4D46}"/>
          </ac:spMkLst>
        </pc:spChg>
        <pc:spChg chg="add mod">
          <ac:chgData name="Jacob, Karen (SPAC/PSPC) (elle-la / she-her)" userId="66e9cce0-e37b-4645-a907-f7690bd68dfb" providerId="ADAL" clId="{871AC57A-6E3B-4D85-BA02-8D6F5065EA89}" dt="2024-06-05T17:42:06.862" v="139"/>
          <ac:spMkLst>
            <pc:docMk/>
            <pc:sldMk cId="3046825340" sldId="5003"/>
            <ac:spMk id="25" creationId="{664EE333-71DB-3A4A-2C15-D1D6BBB21920}"/>
          </ac:spMkLst>
        </pc:spChg>
        <pc:spChg chg="add mod">
          <ac:chgData name="Jacob, Karen (SPAC/PSPC) (elle-la / she-her)" userId="66e9cce0-e37b-4645-a907-f7690bd68dfb" providerId="ADAL" clId="{871AC57A-6E3B-4D85-BA02-8D6F5065EA89}" dt="2024-06-05T17:42:06.862" v="139"/>
          <ac:spMkLst>
            <pc:docMk/>
            <pc:sldMk cId="3046825340" sldId="5003"/>
            <ac:spMk id="26" creationId="{FC23181F-1DD9-7A79-215C-BB0884951DE0}"/>
          </ac:spMkLst>
        </pc:spChg>
        <pc:spChg chg="add mod">
          <ac:chgData name="Jacob, Karen (SPAC/PSPC) (elle-la / she-her)" userId="66e9cce0-e37b-4645-a907-f7690bd68dfb" providerId="ADAL" clId="{871AC57A-6E3B-4D85-BA02-8D6F5065EA89}" dt="2024-06-05T17:42:06.862" v="139"/>
          <ac:spMkLst>
            <pc:docMk/>
            <pc:sldMk cId="3046825340" sldId="5003"/>
            <ac:spMk id="27" creationId="{70B07075-E06E-8408-9BFF-D2CD4925E48A}"/>
          </ac:spMkLst>
        </pc:spChg>
        <pc:spChg chg="add mod">
          <ac:chgData name="Jacob, Karen (SPAC/PSPC) (elle-la / she-her)" userId="66e9cce0-e37b-4645-a907-f7690bd68dfb" providerId="ADAL" clId="{871AC57A-6E3B-4D85-BA02-8D6F5065EA89}" dt="2024-06-05T17:42:06.862" v="139"/>
          <ac:spMkLst>
            <pc:docMk/>
            <pc:sldMk cId="3046825340" sldId="5003"/>
            <ac:spMk id="28" creationId="{FD1C7383-2DC2-22D8-D349-DCC232243505}"/>
          </ac:spMkLst>
        </pc:spChg>
        <pc:spChg chg="add mod">
          <ac:chgData name="Jacob, Karen (SPAC/PSPC) (elle-la / she-her)" userId="66e9cce0-e37b-4645-a907-f7690bd68dfb" providerId="ADAL" clId="{871AC57A-6E3B-4D85-BA02-8D6F5065EA89}" dt="2024-06-05T17:42:06.862" v="139"/>
          <ac:spMkLst>
            <pc:docMk/>
            <pc:sldMk cId="3046825340" sldId="5003"/>
            <ac:spMk id="29" creationId="{CDE0D926-AD72-CDFA-B262-F317B0F30F25}"/>
          </ac:spMkLst>
        </pc:spChg>
        <pc:spChg chg="add mod">
          <ac:chgData name="Jacob, Karen (SPAC/PSPC) (elle-la / she-her)" userId="66e9cce0-e37b-4645-a907-f7690bd68dfb" providerId="ADAL" clId="{871AC57A-6E3B-4D85-BA02-8D6F5065EA89}" dt="2024-06-05T17:42:06.862" v="139"/>
          <ac:spMkLst>
            <pc:docMk/>
            <pc:sldMk cId="3046825340" sldId="5003"/>
            <ac:spMk id="30" creationId="{5C31BF45-E749-C472-36EC-411EA9B3827E}"/>
          </ac:spMkLst>
        </pc:spChg>
        <pc:spChg chg="add mod">
          <ac:chgData name="Jacob, Karen (SPAC/PSPC) (elle-la / she-her)" userId="66e9cce0-e37b-4645-a907-f7690bd68dfb" providerId="ADAL" clId="{871AC57A-6E3B-4D85-BA02-8D6F5065EA89}" dt="2024-06-05T17:42:06.862" v="139"/>
          <ac:spMkLst>
            <pc:docMk/>
            <pc:sldMk cId="3046825340" sldId="5003"/>
            <ac:spMk id="31" creationId="{0DA5B392-E7DD-19C4-20DC-7E84812D3AF3}"/>
          </ac:spMkLst>
        </pc:spChg>
        <pc:spChg chg="add mod">
          <ac:chgData name="Jacob, Karen (SPAC/PSPC) (elle-la / she-her)" userId="66e9cce0-e37b-4645-a907-f7690bd68dfb" providerId="ADAL" clId="{871AC57A-6E3B-4D85-BA02-8D6F5065EA89}" dt="2024-06-05T17:42:06.862" v="139"/>
          <ac:spMkLst>
            <pc:docMk/>
            <pc:sldMk cId="3046825340" sldId="5003"/>
            <ac:spMk id="32" creationId="{42A6CAA5-16D3-0918-50D0-42EB107C127A}"/>
          </ac:spMkLst>
        </pc:spChg>
        <pc:spChg chg="add mod">
          <ac:chgData name="Jacob, Karen (SPAC/PSPC) (elle-la / she-her)" userId="66e9cce0-e37b-4645-a907-f7690bd68dfb" providerId="ADAL" clId="{871AC57A-6E3B-4D85-BA02-8D6F5065EA89}" dt="2024-06-05T17:42:06.862" v="139"/>
          <ac:spMkLst>
            <pc:docMk/>
            <pc:sldMk cId="3046825340" sldId="5003"/>
            <ac:spMk id="33" creationId="{BD0F2C9B-4899-9F86-8359-FF2DCDE3AF75}"/>
          </ac:spMkLst>
        </pc:spChg>
        <pc:grpChg chg="add mod">
          <ac:chgData name="Jacob, Karen (SPAC/PSPC) (elle-la / she-her)" userId="66e9cce0-e37b-4645-a907-f7690bd68dfb" providerId="ADAL" clId="{871AC57A-6E3B-4D85-BA02-8D6F5065EA89}" dt="2024-06-05T17:42:06.862" v="139"/>
          <ac:grpSpMkLst>
            <pc:docMk/>
            <pc:sldMk cId="3046825340" sldId="5003"/>
            <ac:grpSpMk id="8" creationId="{C6C0AAF2-0006-7FBA-3785-FF6D11551578}"/>
          </ac:grpSpMkLst>
        </pc:grpChg>
        <pc:grpChg chg="add mod">
          <ac:chgData name="Jacob, Karen (SPAC/PSPC) (elle-la / she-her)" userId="66e9cce0-e37b-4645-a907-f7690bd68dfb" providerId="ADAL" clId="{871AC57A-6E3B-4D85-BA02-8D6F5065EA89}" dt="2024-06-05T17:42:06.862" v="139"/>
          <ac:grpSpMkLst>
            <pc:docMk/>
            <pc:sldMk cId="3046825340" sldId="5003"/>
            <ac:grpSpMk id="11" creationId="{54628767-A831-C637-6956-5AA03BCDDA3F}"/>
          </ac:grpSpMkLst>
        </pc:grpChg>
        <pc:picChg chg="mod">
          <ac:chgData name="Jacob, Karen (SPAC/PSPC) (elle-la / she-her)" userId="66e9cce0-e37b-4645-a907-f7690bd68dfb" providerId="ADAL" clId="{871AC57A-6E3B-4D85-BA02-8D6F5065EA89}" dt="2024-06-05T17:42:06.862" v="139"/>
          <ac:picMkLst>
            <pc:docMk/>
            <pc:sldMk cId="3046825340" sldId="5003"/>
            <ac:picMk id="9" creationId="{F6C949EA-B296-0F73-D288-86B82C81DFCE}"/>
          </ac:picMkLst>
        </pc:picChg>
        <pc:picChg chg="mod">
          <ac:chgData name="Jacob, Karen (SPAC/PSPC) (elle-la / she-her)" userId="66e9cce0-e37b-4645-a907-f7690bd68dfb" providerId="ADAL" clId="{871AC57A-6E3B-4D85-BA02-8D6F5065EA89}" dt="2024-06-05T17:42:06.862" v="139"/>
          <ac:picMkLst>
            <pc:docMk/>
            <pc:sldMk cId="3046825340" sldId="5003"/>
            <ac:picMk id="12" creationId="{3D4CED1A-4C35-1DB7-B148-54B9A6525655}"/>
          </ac:picMkLst>
        </pc:picChg>
        <pc:picChg chg="add mod">
          <ac:chgData name="Jacob, Karen (SPAC/PSPC) (elle-la / she-her)" userId="66e9cce0-e37b-4645-a907-f7690bd68dfb" providerId="ADAL" clId="{871AC57A-6E3B-4D85-BA02-8D6F5065EA89}" dt="2024-06-05T17:42:06.862" v="139"/>
          <ac:picMkLst>
            <pc:docMk/>
            <pc:sldMk cId="3046825340" sldId="5003"/>
            <ac:picMk id="14" creationId="{0E228B9F-D223-2B98-52A9-84F2251AA71F}"/>
          </ac:picMkLst>
        </pc:picChg>
        <pc:picChg chg="add mod">
          <ac:chgData name="Jacob, Karen (SPAC/PSPC) (elle-la / she-her)" userId="66e9cce0-e37b-4645-a907-f7690bd68dfb" providerId="ADAL" clId="{871AC57A-6E3B-4D85-BA02-8D6F5065EA89}" dt="2024-06-05T17:42:06.862" v="139"/>
          <ac:picMkLst>
            <pc:docMk/>
            <pc:sldMk cId="3046825340" sldId="5003"/>
            <ac:picMk id="15" creationId="{A820C387-57F8-5712-4A7D-577683335A55}"/>
          </ac:picMkLst>
        </pc:picChg>
        <pc:picChg chg="add mod">
          <ac:chgData name="Jacob, Karen (SPAC/PSPC) (elle-la / she-her)" userId="66e9cce0-e37b-4645-a907-f7690bd68dfb" providerId="ADAL" clId="{871AC57A-6E3B-4D85-BA02-8D6F5065EA89}" dt="2024-06-05T17:42:06.862" v="139"/>
          <ac:picMkLst>
            <pc:docMk/>
            <pc:sldMk cId="3046825340" sldId="5003"/>
            <ac:picMk id="20" creationId="{0DCE02AC-F94C-B41E-8236-0467A9A12042}"/>
          </ac:picMkLst>
        </pc:picChg>
        <pc:picChg chg="add mod">
          <ac:chgData name="Jacob, Karen (SPAC/PSPC) (elle-la / she-her)" userId="66e9cce0-e37b-4645-a907-f7690bd68dfb" providerId="ADAL" clId="{871AC57A-6E3B-4D85-BA02-8D6F5065EA89}" dt="2024-06-05T17:42:06.862" v="139"/>
          <ac:picMkLst>
            <pc:docMk/>
            <pc:sldMk cId="3046825340" sldId="5003"/>
            <ac:picMk id="34" creationId="{BC900C86-A46F-AB46-2B31-ABCBC4868D1D}"/>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3:06.836" v="140"/>
              <pc2:cmMkLst xmlns:pc2="http://schemas.microsoft.com/office/powerpoint/2019/9/main/command">
                <pc:docMk/>
                <pc:sldMk cId="3046825340" sldId="5003"/>
                <pc2:cmMk id="{85916A68-495D-4B00-9FF2-03DC716D5D89}"/>
              </pc2:cmMkLst>
            </pc226:cmChg>
          </p:ext>
        </pc:extLst>
      </pc:sldChg>
      <pc:sldChg chg="addSp delSp modSp new del mod addCm">
        <pc:chgData name="Jacob, Karen (SPAC/PSPC) (elle-la / she-her)" userId="66e9cce0-e37b-4645-a907-f7690bd68dfb" providerId="ADAL" clId="{871AC57A-6E3B-4D85-BA02-8D6F5065EA89}" dt="2024-06-21T12:39:14.671" v="158" actId="47"/>
        <pc:sldMkLst>
          <pc:docMk/>
          <pc:sldMk cId="1903397118" sldId="5004"/>
        </pc:sldMkLst>
        <pc:spChg chg="del mod">
          <ac:chgData name="Jacob, Karen (SPAC/PSPC) (elle-la / she-her)" userId="66e9cce0-e37b-4645-a907-f7690bd68dfb" providerId="ADAL" clId="{871AC57A-6E3B-4D85-BA02-8D6F5065EA89}" dt="2024-06-05T17:57:40.605" v="148" actId="478"/>
          <ac:spMkLst>
            <pc:docMk/>
            <pc:sldMk cId="1903397118" sldId="5004"/>
            <ac:spMk id="2" creationId="{6DE7A4F7-121E-7AE4-3969-439BB4E5A416}"/>
          </ac:spMkLst>
        </pc:spChg>
        <pc:spChg chg="mod">
          <ac:chgData name="Jacob, Karen (SPAC/PSPC) (elle-la / she-her)" userId="66e9cce0-e37b-4645-a907-f7690bd68dfb" providerId="ADAL" clId="{871AC57A-6E3B-4D85-BA02-8D6F5065EA89}" dt="2024-06-05T17:57:36.566" v="146"/>
          <ac:spMkLst>
            <pc:docMk/>
            <pc:sldMk cId="1903397118" sldId="5004"/>
            <ac:spMk id="8" creationId="{95AA72BE-F899-9787-6D51-A27FCC03AE79}"/>
          </ac:spMkLst>
        </pc:spChg>
        <pc:spChg chg="add mod">
          <ac:chgData name="Jacob, Karen (SPAC/PSPC) (elle-la / she-her)" userId="66e9cce0-e37b-4645-a907-f7690bd68dfb" providerId="ADAL" clId="{871AC57A-6E3B-4D85-BA02-8D6F5065EA89}" dt="2024-06-05T17:57:36.566" v="146"/>
          <ac:spMkLst>
            <pc:docMk/>
            <pc:sldMk cId="1903397118" sldId="5004"/>
            <ac:spMk id="11" creationId="{7B88AABC-8CC7-E071-5FFA-42E31EE7BCE7}"/>
          </ac:spMkLst>
        </pc:spChg>
        <pc:spChg chg="mod">
          <ac:chgData name="Jacob, Karen (SPAC/PSPC) (elle-la / she-her)" userId="66e9cce0-e37b-4645-a907-f7690bd68dfb" providerId="ADAL" clId="{871AC57A-6E3B-4D85-BA02-8D6F5065EA89}" dt="2024-06-05T17:57:36.566" v="146"/>
          <ac:spMkLst>
            <pc:docMk/>
            <pc:sldMk cId="1903397118" sldId="5004"/>
            <ac:spMk id="13" creationId="{CC8561CD-1818-40EF-C87B-BCBC16D002C2}"/>
          </ac:spMkLst>
        </pc:spChg>
        <pc:spChg chg="mod">
          <ac:chgData name="Jacob, Karen (SPAC/PSPC) (elle-la / she-her)" userId="66e9cce0-e37b-4645-a907-f7690bd68dfb" providerId="ADAL" clId="{871AC57A-6E3B-4D85-BA02-8D6F5065EA89}" dt="2024-06-05T17:57:36.566" v="146"/>
          <ac:spMkLst>
            <pc:docMk/>
            <pc:sldMk cId="1903397118" sldId="5004"/>
            <ac:spMk id="20" creationId="{F91AC382-4A88-956F-BBFC-505104EEBE0C}"/>
          </ac:spMkLst>
        </pc:spChg>
        <pc:spChg chg="mod">
          <ac:chgData name="Jacob, Karen (SPAC/PSPC) (elle-la / she-her)" userId="66e9cce0-e37b-4645-a907-f7690bd68dfb" providerId="ADAL" clId="{871AC57A-6E3B-4D85-BA02-8D6F5065EA89}" dt="2024-06-05T17:57:36.566" v="146"/>
          <ac:spMkLst>
            <pc:docMk/>
            <pc:sldMk cId="1903397118" sldId="5004"/>
            <ac:spMk id="21" creationId="{7DAD5D9A-859E-E0B0-C3A9-C24291ADDC4D}"/>
          </ac:spMkLst>
        </pc:spChg>
        <pc:spChg chg="mod">
          <ac:chgData name="Jacob, Karen (SPAC/PSPC) (elle-la / she-her)" userId="66e9cce0-e37b-4645-a907-f7690bd68dfb" providerId="ADAL" clId="{871AC57A-6E3B-4D85-BA02-8D6F5065EA89}" dt="2024-06-05T17:57:36.566" v="146"/>
          <ac:spMkLst>
            <pc:docMk/>
            <pc:sldMk cId="1903397118" sldId="5004"/>
            <ac:spMk id="22" creationId="{59D296BE-5F52-32BF-9CA1-13043C7B10E8}"/>
          </ac:spMkLst>
        </pc:spChg>
        <pc:spChg chg="mod">
          <ac:chgData name="Jacob, Karen (SPAC/PSPC) (elle-la / she-her)" userId="66e9cce0-e37b-4645-a907-f7690bd68dfb" providerId="ADAL" clId="{871AC57A-6E3B-4D85-BA02-8D6F5065EA89}" dt="2024-06-05T17:57:36.566" v="146"/>
          <ac:spMkLst>
            <pc:docMk/>
            <pc:sldMk cId="1903397118" sldId="5004"/>
            <ac:spMk id="23" creationId="{B0232C10-5F74-A94D-70C3-093093BE4F2B}"/>
          </ac:spMkLst>
        </pc:spChg>
        <pc:spChg chg="mod">
          <ac:chgData name="Jacob, Karen (SPAC/PSPC) (elle-la / she-her)" userId="66e9cce0-e37b-4645-a907-f7690bd68dfb" providerId="ADAL" clId="{871AC57A-6E3B-4D85-BA02-8D6F5065EA89}" dt="2024-06-05T17:57:36.566" v="146"/>
          <ac:spMkLst>
            <pc:docMk/>
            <pc:sldMk cId="1903397118" sldId="5004"/>
            <ac:spMk id="24" creationId="{2F645C0B-99A7-FAC8-923C-1A469ADF66F9}"/>
          </ac:spMkLst>
        </pc:spChg>
        <pc:spChg chg="mod">
          <ac:chgData name="Jacob, Karen (SPAC/PSPC) (elle-la / she-her)" userId="66e9cce0-e37b-4645-a907-f7690bd68dfb" providerId="ADAL" clId="{871AC57A-6E3B-4D85-BA02-8D6F5065EA89}" dt="2024-06-05T17:57:36.566" v="146"/>
          <ac:spMkLst>
            <pc:docMk/>
            <pc:sldMk cId="1903397118" sldId="5004"/>
            <ac:spMk id="26" creationId="{AEE63864-6D27-AD82-155C-71DB4943F85A}"/>
          </ac:spMkLst>
        </pc:spChg>
        <pc:spChg chg="mod">
          <ac:chgData name="Jacob, Karen (SPAC/PSPC) (elle-la / she-her)" userId="66e9cce0-e37b-4645-a907-f7690bd68dfb" providerId="ADAL" clId="{871AC57A-6E3B-4D85-BA02-8D6F5065EA89}" dt="2024-06-05T17:57:36.566" v="146"/>
          <ac:spMkLst>
            <pc:docMk/>
            <pc:sldMk cId="1903397118" sldId="5004"/>
            <ac:spMk id="28" creationId="{DD6A8209-89FB-F41C-38A2-E4E6CFBA12C7}"/>
          </ac:spMkLst>
        </pc:spChg>
        <pc:spChg chg="mod">
          <ac:chgData name="Jacob, Karen (SPAC/PSPC) (elle-la / she-her)" userId="66e9cce0-e37b-4645-a907-f7690bd68dfb" providerId="ADAL" clId="{871AC57A-6E3B-4D85-BA02-8D6F5065EA89}" dt="2024-06-05T17:57:36.566" v="146"/>
          <ac:spMkLst>
            <pc:docMk/>
            <pc:sldMk cId="1903397118" sldId="5004"/>
            <ac:spMk id="29" creationId="{17AAB599-B658-8789-275E-2BF0B7EE01F7}"/>
          </ac:spMkLst>
        </pc:spChg>
        <pc:spChg chg="mod">
          <ac:chgData name="Jacob, Karen (SPAC/PSPC) (elle-la / she-her)" userId="66e9cce0-e37b-4645-a907-f7690bd68dfb" providerId="ADAL" clId="{871AC57A-6E3B-4D85-BA02-8D6F5065EA89}" dt="2024-06-05T17:57:36.566" v="146"/>
          <ac:spMkLst>
            <pc:docMk/>
            <pc:sldMk cId="1903397118" sldId="5004"/>
            <ac:spMk id="30" creationId="{64C00AF0-846C-AC11-D45A-3320A1752541}"/>
          </ac:spMkLst>
        </pc:spChg>
        <pc:spChg chg="mod">
          <ac:chgData name="Jacob, Karen (SPAC/PSPC) (elle-la / she-her)" userId="66e9cce0-e37b-4645-a907-f7690bd68dfb" providerId="ADAL" clId="{871AC57A-6E3B-4D85-BA02-8D6F5065EA89}" dt="2024-06-05T17:57:36.566" v="146"/>
          <ac:spMkLst>
            <pc:docMk/>
            <pc:sldMk cId="1903397118" sldId="5004"/>
            <ac:spMk id="31" creationId="{40219A96-A6B3-18C4-70A1-7322AD51D498}"/>
          </ac:spMkLst>
        </pc:spChg>
        <pc:spChg chg="mod">
          <ac:chgData name="Jacob, Karen (SPAC/PSPC) (elle-la / she-her)" userId="66e9cce0-e37b-4645-a907-f7690bd68dfb" providerId="ADAL" clId="{871AC57A-6E3B-4D85-BA02-8D6F5065EA89}" dt="2024-06-05T17:57:36.566" v="146"/>
          <ac:spMkLst>
            <pc:docMk/>
            <pc:sldMk cId="1903397118" sldId="5004"/>
            <ac:spMk id="32" creationId="{3E52EB05-19B2-5491-8E65-4AC634DD5363}"/>
          </ac:spMkLst>
        </pc:spChg>
        <pc:spChg chg="mod">
          <ac:chgData name="Jacob, Karen (SPAC/PSPC) (elle-la / she-her)" userId="66e9cce0-e37b-4645-a907-f7690bd68dfb" providerId="ADAL" clId="{871AC57A-6E3B-4D85-BA02-8D6F5065EA89}" dt="2024-06-05T17:57:36.566" v="146"/>
          <ac:spMkLst>
            <pc:docMk/>
            <pc:sldMk cId="1903397118" sldId="5004"/>
            <ac:spMk id="33" creationId="{F39D078F-C966-F670-30E6-EA0B9D1E2E1C}"/>
          </ac:spMkLst>
        </pc:spChg>
        <pc:spChg chg="mod">
          <ac:chgData name="Jacob, Karen (SPAC/PSPC) (elle-la / she-her)" userId="66e9cce0-e37b-4645-a907-f7690bd68dfb" providerId="ADAL" clId="{871AC57A-6E3B-4D85-BA02-8D6F5065EA89}" dt="2024-06-05T17:57:36.566" v="146"/>
          <ac:spMkLst>
            <pc:docMk/>
            <pc:sldMk cId="1903397118" sldId="5004"/>
            <ac:spMk id="34" creationId="{DA7CA523-DDC4-D9FD-F484-6029F4A49CFC}"/>
          </ac:spMkLst>
        </pc:spChg>
        <pc:spChg chg="mod">
          <ac:chgData name="Jacob, Karen (SPAC/PSPC) (elle-la / she-her)" userId="66e9cce0-e37b-4645-a907-f7690bd68dfb" providerId="ADAL" clId="{871AC57A-6E3B-4D85-BA02-8D6F5065EA89}" dt="2024-06-05T17:57:36.566" v="146"/>
          <ac:spMkLst>
            <pc:docMk/>
            <pc:sldMk cId="1903397118" sldId="5004"/>
            <ac:spMk id="35" creationId="{AA4B2DFF-BDA8-B0F3-52AD-B991FCF8F0D5}"/>
          </ac:spMkLst>
        </pc:spChg>
        <pc:spChg chg="mod">
          <ac:chgData name="Jacob, Karen (SPAC/PSPC) (elle-la / she-her)" userId="66e9cce0-e37b-4645-a907-f7690bd68dfb" providerId="ADAL" clId="{871AC57A-6E3B-4D85-BA02-8D6F5065EA89}" dt="2024-06-05T17:57:36.566" v="146"/>
          <ac:spMkLst>
            <pc:docMk/>
            <pc:sldMk cId="1903397118" sldId="5004"/>
            <ac:spMk id="36" creationId="{2C845B85-89E7-34CB-B27E-8E794AF6E083}"/>
          </ac:spMkLst>
        </pc:spChg>
        <pc:spChg chg="mod">
          <ac:chgData name="Jacob, Karen (SPAC/PSPC) (elle-la / she-her)" userId="66e9cce0-e37b-4645-a907-f7690bd68dfb" providerId="ADAL" clId="{871AC57A-6E3B-4D85-BA02-8D6F5065EA89}" dt="2024-06-05T17:57:36.566" v="146"/>
          <ac:spMkLst>
            <pc:docMk/>
            <pc:sldMk cId="1903397118" sldId="5004"/>
            <ac:spMk id="37" creationId="{C9E97066-EA69-544C-9F37-AFFD6B0056B3}"/>
          </ac:spMkLst>
        </pc:spChg>
        <pc:spChg chg="mod">
          <ac:chgData name="Jacob, Karen (SPAC/PSPC) (elle-la / she-her)" userId="66e9cce0-e37b-4645-a907-f7690bd68dfb" providerId="ADAL" clId="{871AC57A-6E3B-4D85-BA02-8D6F5065EA89}" dt="2024-06-05T17:57:36.566" v="146"/>
          <ac:spMkLst>
            <pc:docMk/>
            <pc:sldMk cId="1903397118" sldId="5004"/>
            <ac:spMk id="38" creationId="{E126FB0F-799D-882C-3FD4-A3D6F0E19EA4}"/>
          </ac:spMkLst>
        </pc:spChg>
        <pc:spChg chg="mod">
          <ac:chgData name="Jacob, Karen (SPAC/PSPC) (elle-la / she-her)" userId="66e9cce0-e37b-4645-a907-f7690bd68dfb" providerId="ADAL" clId="{871AC57A-6E3B-4D85-BA02-8D6F5065EA89}" dt="2024-06-05T17:57:36.566" v="146"/>
          <ac:spMkLst>
            <pc:docMk/>
            <pc:sldMk cId="1903397118" sldId="5004"/>
            <ac:spMk id="39" creationId="{69A35E8B-22DC-B000-DDB0-E3E9993DD1F8}"/>
          </ac:spMkLst>
        </pc:spChg>
        <pc:spChg chg="mod">
          <ac:chgData name="Jacob, Karen (SPAC/PSPC) (elle-la / she-her)" userId="66e9cce0-e37b-4645-a907-f7690bd68dfb" providerId="ADAL" clId="{871AC57A-6E3B-4D85-BA02-8D6F5065EA89}" dt="2024-06-05T17:57:36.566" v="146"/>
          <ac:spMkLst>
            <pc:docMk/>
            <pc:sldMk cId="1903397118" sldId="5004"/>
            <ac:spMk id="40" creationId="{BEDFA48D-E6B0-DB08-EB17-54B0538F03FC}"/>
          </ac:spMkLst>
        </pc:spChg>
        <pc:spChg chg="mod">
          <ac:chgData name="Jacob, Karen (SPAC/PSPC) (elle-la / she-her)" userId="66e9cce0-e37b-4645-a907-f7690bd68dfb" providerId="ADAL" clId="{871AC57A-6E3B-4D85-BA02-8D6F5065EA89}" dt="2024-06-05T17:57:36.566" v="146"/>
          <ac:spMkLst>
            <pc:docMk/>
            <pc:sldMk cId="1903397118" sldId="5004"/>
            <ac:spMk id="41" creationId="{6EB1F4BF-11AF-61C1-83FE-337F25A50080}"/>
          </ac:spMkLst>
        </pc:spChg>
        <pc:spChg chg="mod">
          <ac:chgData name="Jacob, Karen (SPAC/PSPC) (elle-la / she-her)" userId="66e9cce0-e37b-4645-a907-f7690bd68dfb" providerId="ADAL" clId="{871AC57A-6E3B-4D85-BA02-8D6F5065EA89}" dt="2024-06-05T17:57:36.566" v="146"/>
          <ac:spMkLst>
            <pc:docMk/>
            <pc:sldMk cId="1903397118" sldId="5004"/>
            <ac:spMk id="42" creationId="{C92E9470-2421-B2CE-29BD-598D8B68F2DB}"/>
          </ac:spMkLst>
        </pc:spChg>
        <pc:spChg chg="mod">
          <ac:chgData name="Jacob, Karen (SPAC/PSPC) (elle-la / she-her)" userId="66e9cce0-e37b-4645-a907-f7690bd68dfb" providerId="ADAL" clId="{871AC57A-6E3B-4D85-BA02-8D6F5065EA89}" dt="2024-06-05T17:57:36.566" v="146"/>
          <ac:spMkLst>
            <pc:docMk/>
            <pc:sldMk cId="1903397118" sldId="5004"/>
            <ac:spMk id="43" creationId="{F81ECAE2-EECC-C663-FD27-F93281BCE5D2}"/>
          </ac:spMkLst>
        </pc:spChg>
        <pc:spChg chg="mod">
          <ac:chgData name="Jacob, Karen (SPAC/PSPC) (elle-la / she-her)" userId="66e9cce0-e37b-4645-a907-f7690bd68dfb" providerId="ADAL" clId="{871AC57A-6E3B-4D85-BA02-8D6F5065EA89}" dt="2024-06-05T17:57:36.566" v="146"/>
          <ac:spMkLst>
            <pc:docMk/>
            <pc:sldMk cId="1903397118" sldId="5004"/>
            <ac:spMk id="44" creationId="{D3986DE7-7C73-AEC2-1223-409D3CED3024}"/>
          </ac:spMkLst>
        </pc:spChg>
        <pc:spChg chg="mod">
          <ac:chgData name="Jacob, Karen (SPAC/PSPC) (elle-la / she-her)" userId="66e9cce0-e37b-4645-a907-f7690bd68dfb" providerId="ADAL" clId="{871AC57A-6E3B-4D85-BA02-8D6F5065EA89}" dt="2024-06-05T17:57:36.566" v="146"/>
          <ac:spMkLst>
            <pc:docMk/>
            <pc:sldMk cId="1903397118" sldId="5004"/>
            <ac:spMk id="45" creationId="{9A76645B-880A-B095-B767-5A43E1A2500C}"/>
          </ac:spMkLst>
        </pc:spChg>
        <pc:spChg chg="mod">
          <ac:chgData name="Jacob, Karen (SPAC/PSPC) (elle-la / she-her)" userId="66e9cce0-e37b-4645-a907-f7690bd68dfb" providerId="ADAL" clId="{871AC57A-6E3B-4D85-BA02-8D6F5065EA89}" dt="2024-06-05T17:57:36.566" v="146"/>
          <ac:spMkLst>
            <pc:docMk/>
            <pc:sldMk cId="1903397118" sldId="5004"/>
            <ac:spMk id="46" creationId="{773824BB-1473-34D6-DC3F-18A9C20847D3}"/>
          </ac:spMkLst>
        </pc:spChg>
        <pc:spChg chg="mod">
          <ac:chgData name="Jacob, Karen (SPAC/PSPC) (elle-la / she-her)" userId="66e9cce0-e37b-4645-a907-f7690bd68dfb" providerId="ADAL" clId="{871AC57A-6E3B-4D85-BA02-8D6F5065EA89}" dt="2024-06-05T17:57:36.566" v="146"/>
          <ac:spMkLst>
            <pc:docMk/>
            <pc:sldMk cId="1903397118" sldId="5004"/>
            <ac:spMk id="47" creationId="{B4798825-4047-77ED-B1E0-95E9B493D0AD}"/>
          </ac:spMkLst>
        </pc:spChg>
        <pc:spChg chg="mod">
          <ac:chgData name="Jacob, Karen (SPAC/PSPC) (elle-la / she-her)" userId="66e9cce0-e37b-4645-a907-f7690bd68dfb" providerId="ADAL" clId="{871AC57A-6E3B-4D85-BA02-8D6F5065EA89}" dt="2024-06-05T17:57:36.566" v="146"/>
          <ac:spMkLst>
            <pc:docMk/>
            <pc:sldMk cId="1903397118" sldId="5004"/>
            <ac:spMk id="48" creationId="{5C04D0C4-35E1-C131-E4CA-BD7C2EDB746E}"/>
          </ac:spMkLst>
        </pc:spChg>
        <pc:spChg chg="mod">
          <ac:chgData name="Jacob, Karen (SPAC/PSPC) (elle-la / she-her)" userId="66e9cce0-e37b-4645-a907-f7690bd68dfb" providerId="ADAL" clId="{871AC57A-6E3B-4D85-BA02-8D6F5065EA89}" dt="2024-06-05T17:57:36.566" v="146"/>
          <ac:spMkLst>
            <pc:docMk/>
            <pc:sldMk cId="1903397118" sldId="5004"/>
            <ac:spMk id="49" creationId="{87173ADD-1D45-41E7-7BAD-192410157947}"/>
          </ac:spMkLst>
        </pc:spChg>
        <pc:spChg chg="mod">
          <ac:chgData name="Jacob, Karen (SPAC/PSPC) (elle-la / she-her)" userId="66e9cce0-e37b-4645-a907-f7690bd68dfb" providerId="ADAL" clId="{871AC57A-6E3B-4D85-BA02-8D6F5065EA89}" dt="2024-06-05T17:57:36.566" v="146"/>
          <ac:spMkLst>
            <pc:docMk/>
            <pc:sldMk cId="1903397118" sldId="5004"/>
            <ac:spMk id="50" creationId="{0C32DA1C-1ECE-8C8B-673A-02CA6F1BC08B}"/>
          </ac:spMkLst>
        </pc:spChg>
        <pc:spChg chg="mod">
          <ac:chgData name="Jacob, Karen (SPAC/PSPC) (elle-la / she-her)" userId="66e9cce0-e37b-4645-a907-f7690bd68dfb" providerId="ADAL" clId="{871AC57A-6E3B-4D85-BA02-8D6F5065EA89}" dt="2024-06-05T17:57:36.566" v="146"/>
          <ac:spMkLst>
            <pc:docMk/>
            <pc:sldMk cId="1903397118" sldId="5004"/>
            <ac:spMk id="51" creationId="{0BEAA3BF-17A1-188C-17DB-2694F8DD66EC}"/>
          </ac:spMkLst>
        </pc:spChg>
        <pc:spChg chg="mod">
          <ac:chgData name="Jacob, Karen (SPAC/PSPC) (elle-la / she-her)" userId="66e9cce0-e37b-4645-a907-f7690bd68dfb" providerId="ADAL" clId="{871AC57A-6E3B-4D85-BA02-8D6F5065EA89}" dt="2024-06-05T17:57:36.566" v="146"/>
          <ac:spMkLst>
            <pc:docMk/>
            <pc:sldMk cId="1903397118" sldId="5004"/>
            <ac:spMk id="52" creationId="{9C6E289A-7E15-DD7A-147A-F2CDFD827845}"/>
          </ac:spMkLst>
        </pc:spChg>
        <pc:spChg chg="mod">
          <ac:chgData name="Jacob, Karen (SPAC/PSPC) (elle-la / she-her)" userId="66e9cce0-e37b-4645-a907-f7690bd68dfb" providerId="ADAL" clId="{871AC57A-6E3B-4D85-BA02-8D6F5065EA89}" dt="2024-06-05T17:57:36.566" v="146"/>
          <ac:spMkLst>
            <pc:docMk/>
            <pc:sldMk cId="1903397118" sldId="5004"/>
            <ac:spMk id="53" creationId="{C787B92F-533A-A1D9-8355-049E106F8698}"/>
          </ac:spMkLst>
        </pc:spChg>
        <pc:spChg chg="mod">
          <ac:chgData name="Jacob, Karen (SPAC/PSPC) (elle-la / she-her)" userId="66e9cce0-e37b-4645-a907-f7690bd68dfb" providerId="ADAL" clId="{871AC57A-6E3B-4D85-BA02-8D6F5065EA89}" dt="2024-06-05T17:57:36.566" v="146"/>
          <ac:spMkLst>
            <pc:docMk/>
            <pc:sldMk cId="1903397118" sldId="5004"/>
            <ac:spMk id="54" creationId="{EE34EBE8-B087-4934-061E-EF54E72FBCE3}"/>
          </ac:spMkLst>
        </pc:spChg>
        <pc:spChg chg="mod">
          <ac:chgData name="Jacob, Karen (SPAC/PSPC) (elle-la / she-her)" userId="66e9cce0-e37b-4645-a907-f7690bd68dfb" providerId="ADAL" clId="{871AC57A-6E3B-4D85-BA02-8D6F5065EA89}" dt="2024-06-05T17:57:36.566" v="146"/>
          <ac:spMkLst>
            <pc:docMk/>
            <pc:sldMk cId="1903397118" sldId="5004"/>
            <ac:spMk id="55" creationId="{DBFAC949-0D4D-320A-F0C7-903A3AA22910}"/>
          </ac:spMkLst>
        </pc:spChg>
        <pc:spChg chg="mod">
          <ac:chgData name="Jacob, Karen (SPAC/PSPC) (elle-la / she-her)" userId="66e9cce0-e37b-4645-a907-f7690bd68dfb" providerId="ADAL" clId="{871AC57A-6E3B-4D85-BA02-8D6F5065EA89}" dt="2024-06-05T17:57:36.566" v="146"/>
          <ac:spMkLst>
            <pc:docMk/>
            <pc:sldMk cId="1903397118" sldId="5004"/>
            <ac:spMk id="56" creationId="{E90CB0F6-1B8F-CF4B-4665-0983680C0C06}"/>
          </ac:spMkLst>
        </pc:spChg>
        <pc:spChg chg="mod">
          <ac:chgData name="Jacob, Karen (SPAC/PSPC) (elle-la / she-her)" userId="66e9cce0-e37b-4645-a907-f7690bd68dfb" providerId="ADAL" clId="{871AC57A-6E3B-4D85-BA02-8D6F5065EA89}" dt="2024-06-05T17:57:36.566" v="146"/>
          <ac:spMkLst>
            <pc:docMk/>
            <pc:sldMk cId="1903397118" sldId="5004"/>
            <ac:spMk id="57" creationId="{F59121C5-2066-BE9E-1D72-1659ED48D970}"/>
          </ac:spMkLst>
        </pc:spChg>
        <pc:spChg chg="mod">
          <ac:chgData name="Jacob, Karen (SPAC/PSPC) (elle-la / she-her)" userId="66e9cce0-e37b-4645-a907-f7690bd68dfb" providerId="ADAL" clId="{871AC57A-6E3B-4D85-BA02-8D6F5065EA89}" dt="2024-06-05T17:57:36.566" v="146"/>
          <ac:spMkLst>
            <pc:docMk/>
            <pc:sldMk cId="1903397118" sldId="5004"/>
            <ac:spMk id="58" creationId="{E49C98A5-DEA0-4DA5-3CF0-8E95C467B21E}"/>
          </ac:spMkLst>
        </pc:spChg>
        <pc:spChg chg="mod">
          <ac:chgData name="Jacob, Karen (SPAC/PSPC) (elle-la / she-her)" userId="66e9cce0-e37b-4645-a907-f7690bd68dfb" providerId="ADAL" clId="{871AC57A-6E3B-4D85-BA02-8D6F5065EA89}" dt="2024-06-05T17:57:36.566" v="146"/>
          <ac:spMkLst>
            <pc:docMk/>
            <pc:sldMk cId="1903397118" sldId="5004"/>
            <ac:spMk id="59" creationId="{87157A23-F9D0-7055-D28A-5E228DE96E8F}"/>
          </ac:spMkLst>
        </pc:spChg>
        <pc:spChg chg="mod">
          <ac:chgData name="Jacob, Karen (SPAC/PSPC) (elle-la / she-her)" userId="66e9cce0-e37b-4645-a907-f7690bd68dfb" providerId="ADAL" clId="{871AC57A-6E3B-4D85-BA02-8D6F5065EA89}" dt="2024-06-05T17:57:36.566" v="146"/>
          <ac:spMkLst>
            <pc:docMk/>
            <pc:sldMk cId="1903397118" sldId="5004"/>
            <ac:spMk id="60" creationId="{60C03AA3-3C6D-0DBD-FF35-B5B7504452F5}"/>
          </ac:spMkLst>
        </pc:spChg>
        <pc:spChg chg="mod">
          <ac:chgData name="Jacob, Karen (SPAC/PSPC) (elle-la / she-her)" userId="66e9cce0-e37b-4645-a907-f7690bd68dfb" providerId="ADAL" clId="{871AC57A-6E3B-4D85-BA02-8D6F5065EA89}" dt="2024-06-05T17:57:36.566" v="146"/>
          <ac:spMkLst>
            <pc:docMk/>
            <pc:sldMk cId="1903397118" sldId="5004"/>
            <ac:spMk id="61" creationId="{5D2E7A06-EC53-3E0A-E766-D89737475C7E}"/>
          </ac:spMkLst>
        </pc:spChg>
        <pc:spChg chg="mod">
          <ac:chgData name="Jacob, Karen (SPAC/PSPC) (elle-la / she-her)" userId="66e9cce0-e37b-4645-a907-f7690bd68dfb" providerId="ADAL" clId="{871AC57A-6E3B-4D85-BA02-8D6F5065EA89}" dt="2024-06-05T17:57:36.566" v="146"/>
          <ac:spMkLst>
            <pc:docMk/>
            <pc:sldMk cId="1903397118" sldId="5004"/>
            <ac:spMk id="62" creationId="{0B2D47D7-9779-071A-2DAD-386B4D732542}"/>
          </ac:spMkLst>
        </pc:spChg>
        <pc:spChg chg="mod">
          <ac:chgData name="Jacob, Karen (SPAC/PSPC) (elle-la / she-her)" userId="66e9cce0-e37b-4645-a907-f7690bd68dfb" providerId="ADAL" clId="{871AC57A-6E3B-4D85-BA02-8D6F5065EA89}" dt="2024-06-05T17:57:36.566" v="146"/>
          <ac:spMkLst>
            <pc:docMk/>
            <pc:sldMk cId="1903397118" sldId="5004"/>
            <ac:spMk id="63" creationId="{A3394D01-212B-891D-B68D-9751E6C3F176}"/>
          </ac:spMkLst>
        </pc:spChg>
        <pc:spChg chg="mod">
          <ac:chgData name="Jacob, Karen (SPAC/PSPC) (elle-la / she-her)" userId="66e9cce0-e37b-4645-a907-f7690bd68dfb" providerId="ADAL" clId="{871AC57A-6E3B-4D85-BA02-8D6F5065EA89}" dt="2024-06-05T17:57:36.566" v="146"/>
          <ac:spMkLst>
            <pc:docMk/>
            <pc:sldMk cId="1903397118" sldId="5004"/>
            <ac:spMk id="64" creationId="{3671BD97-946A-AA8C-6B09-A74A6CD46A04}"/>
          </ac:spMkLst>
        </pc:spChg>
        <pc:spChg chg="mod">
          <ac:chgData name="Jacob, Karen (SPAC/PSPC) (elle-la / she-her)" userId="66e9cce0-e37b-4645-a907-f7690bd68dfb" providerId="ADAL" clId="{871AC57A-6E3B-4D85-BA02-8D6F5065EA89}" dt="2024-06-05T17:57:36.566" v="146"/>
          <ac:spMkLst>
            <pc:docMk/>
            <pc:sldMk cId="1903397118" sldId="5004"/>
            <ac:spMk id="65" creationId="{748ACC47-E95E-D30E-5D99-FE5F7A49F2BB}"/>
          </ac:spMkLst>
        </pc:spChg>
        <pc:spChg chg="mod">
          <ac:chgData name="Jacob, Karen (SPAC/PSPC) (elle-la / she-her)" userId="66e9cce0-e37b-4645-a907-f7690bd68dfb" providerId="ADAL" clId="{871AC57A-6E3B-4D85-BA02-8D6F5065EA89}" dt="2024-06-05T17:57:36.566" v="146"/>
          <ac:spMkLst>
            <pc:docMk/>
            <pc:sldMk cId="1903397118" sldId="5004"/>
            <ac:spMk id="66" creationId="{E2A6A79C-26B6-72D2-CB7C-D62EF6086C01}"/>
          </ac:spMkLst>
        </pc:spChg>
        <pc:spChg chg="mod">
          <ac:chgData name="Jacob, Karen (SPAC/PSPC) (elle-la / she-her)" userId="66e9cce0-e37b-4645-a907-f7690bd68dfb" providerId="ADAL" clId="{871AC57A-6E3B-4D85-BA02-8D6F5065EA89}" dt="2024-06-05T17:57:36.566" v="146"/>
          <ac:spMkLst>
            <pc:docMk/>
            <pc:sldMk cId="1903397118" sldId="5004"/>
            <ac:spMk id="67" creationId="{9FF0906C-2553-435C-B53B-365ADBFFE29A}"/>
          </ac:spMkLst>
        </pc:spChg>
        <pc:spChg chg="mod">
          <ac:chgData name="Jacob, Karen (SPAC/PSPC) (elle-la / she-her)" userId="66e9cce0-e37b-4645-a907-f7690bd68dfb" providerId="ADAL" clId="{871AC57A-6E3B-4D85-BA02-8D6F5065EA89}" dt="2024-06-05T17:57:36.566" v="146"/>
          <ac:spMkLst>
            <pc:docMk/>
            <pc:sldMk cId="1903397118" sldId="5004"/>
            <ac:spMk id="69" creationId="{575B1B8B-94EE-103D-598B-1551532DD666}"/>
          </ac:spMkLst>
        </pc:spChg>
        <pc:spChg chg="mod">
          <ac:chgData name="Jacob, Karen (SPAC/PSPC) (elle-la / she-her)" userId="66e9cce0-e37b-4645-a907-f7690bd68dfb" providerId="ADAL" clId="{871AC57A-6E3B-4D85-BA02-8D6F5065EA89}" dt="2024-06-05T17:57:36.566" v="146"/>
          <ac:spMkLst>
            <pc:docMk/>
            <pc:sldMk cId="1903397118" sldId="5004"/>
            <ac:spMk id="71" creationId="{ACF322E4-AFF5-6CE7-E558-15A5BCDCF297}"/>
          </ac:spMkLst>
        </pc:spChg>
        <pc:spChg chg="mod">
          <ac:chgData name="Jacob, Karen (SPAC/PSPC) (elle-la / she-her)" userId="66e9cce0-e37b-4645-a907-f7690bd68dfb" providerId="ADAL" clId="{871AC57A-6E3B-4D85-BA02-8D6F5065EA89}" dt="2024-06-05T17:57:36.566" v="146"/>
          <ac:spMkLst>
            <pc:docMk/>
            <pc:sldMk cId="1903397118" sldId="5004"/>
            <ac:spMk id="72" creationId="{72877D15-D0F1-3128-5FED-6B9435E8D065}"/>
          </ac:spMkLst>
        </pc:spChg>
        <pc:spChg chg="mod">
          <ac:chgData name="Jacob, Karen (SPAC/PSPC) (elle-la / she-her)" userId="66e9cce0-e37b-4645-a907-f7690bd68dfb" providerId="ADAL" clId="{871AC57A-6E3B-4D85-BA02-8D6F5065EA89}" dt="2024-06-05T17:57:36.566" v="146"/>
          <ac:spMkLst>
            <pc:docMk/>
            <pc:sldMk cId="1903397118" sldId="5004"/>
            <ac:spMk id="73" creationId="{7C042DBA-D648-31BC-07D1-69497904E7E2}"/>
          </ac:spMkLst>
        </pc:spChg>
        <pc:spChg chg="mod">
          <ac:chgData name="Jacob, Karen (SPAC/PSPC) (elle-la / she-her)" userId="66e9cce0-e37b-4645-a907-f7690bd68dfb" providerId="ADAL" clId="{871AC57A-6E3B-4D85-BA02-8D6F5065EA89}" dt="2024-06-05T17:57:36.566" v="146"/>
          <ac:spMkLst>
            <pc:docMk/>
            <pc:sldMk cId="1903397118" sldId="5004"/>
            <ac:spMk id="74" creationId="{9BBD79FA-290C-E47B-D383-136E6EFFFA0A}"/>
          </ac:spMkLst>
        </pc:spChg>
        <pc:spChg chg="mod">
          <ac:chgData name="Jacob, Karen (SPAC/PSPC) (elle-la / she-her)" userId="66e9cce0-e37b-4645-a907-f7690bd68dfb" providerId="ADAL" clId="{871AC57A-6E3B-4D85-BA02-8D6F5065EA89}" dt="2024-06-05T17:57:36.566" v="146"/>
          <ac:spMkLst>
            <pc:docMk/>
            <pc:sldMk cId="1903397118" sldId="5004"/>
            <ac:spMk id="75" creationId="{9C2D97AB-EE6C-5740-A32C-944EE56B0EE6}"/>
          </ac:spMkLst>
        </pc:spChg>
        <pc:spChg chg="mod">
          <ac:chgData name="Jacob, Karen (SPAC/PSPC) (elle-la / she-her)" userId="66e9cce0-e37b-4645-a907-f7690bd68dfb" providerId="ADAL" clId="{871AC57A-6E3B-4D85-BA02-8D6F5065EA89}" dt="2024-06-05T17:57:36.566" v="146"/>
          <ac:spMkLst>
            <pc:docMk/>
            <pc:sldMk cId="1903397118" sldId="5004"/>
            <ac:spMk id="76" creationId="{75CF64C2-E8BD-8544-CDA1-D0F3B921E75B}"/>
          </ac:spMkLst>
        </pc:spChg>
        <pc:spChg chg="mod">
          <ac:chgData name="Jacob, Karen (SPAC/PSPC) (elle-la / she-her)" userId="66e9cce0-e37b-4645-a907-f7690bd68dfb" providerId="ADAL" clId="{871AC57A-6E3B-4D85-BA02-8D6F5065EA89}" dt="2024-06-05T17:57:36.566" v="146"/>
          <ac:spMkLst>
            <pc:docMk/>
            <pc:sldMk cId="1903397118" sldId="5004"/>
            <ac:spMk id="77" creationId="{D50E7F9E-CCC1-ACCF-4734-3BD45782A6A3}"/>
          </ac:spMkLst>
        </pc:spChg>
        <pc:spChg chg="mod">
          <ac:chgData name="Jacob, Karen (SPAC/PSPC) (elle-la / she-her)" userId="66e9cce0-e37b-4645-a907-f7690bd68dfb" providerId="ADAL" clId="{871AC57A-6E3B-4D85-BA02-8D6F5065EA89}" dt="2024-06-05T17:57:36.566" v="146"/>
          <ac:spMkLst>
            <pc:docMk/>
            <pc:sldMk cId="1903397118" sldId="5004"/>
            <ac:spMk id="78" creationId="{DF0E6146-B788-F3EF-688D-BEBDC580AD7B}"/>
          </ac:spMkLst>
        </pc:spChg>
        <pc:spChg chg="mod">
          <ac:chgData name="Jacob, Karen (SPAC/PSPC) (elle-la / she-her)" userId="66e9cce0-e37b-4645-a907-f7690bd68dfb" providerId="ADAL" clId="{871AC57A-6E3B-4D85-BA02-8D6F5065EA89}" dt="2024-06-05T17:57:36.566" v="146"/>
          <ac:spMkLst>
            <pc:docMk/>
            <pc:sldMk cId="1903397118" sldId="5004"/>
            <ac:spMk id="79" creationId="{3F59CD68-7C27-5E84-57FD-8C7742CA5061}"/>
          </ac:spMkLst>
        </pc:spChg>
        <pc:spChg chg="mod">
          <ac:chgData name="Jacob, Karen (SPAC/PSPC) (elle-la / she-her)" userId="66e9cce0-e37b-4645-a907-f7690bd68dfb" providerId="ADAL" clId="{871AC57A-6E3B-4D85-BA02-8D6F5065EA89}" dt="2024-06-05T17:57:36.566" v="146"/>
          <ac:spMkLst>
            <pc:docMk/>
            <pc:sldMk cId="1903397118" sldId="5004"/>
            <ac:spMk id="80" creationId="{25504A52-B235-9040-CBFE-8296B1681ED3}"/>
          </ac:spMkLst>
        </pc:spChg>
        <pc:spChg chg="mod">
          <ac:chgData name="Jacob, Karen (SPAC/PSPC) (elle-la / she-her)" userId="66e9cce0-e37b-4645-a907-f7690bd68dfb" providerId="ADAL" clId="{871AC57A-6E3B-4D85-BA02-8D6F5065EA89}" dt="2024-06-05T17:57:36.566" v="146"/>
          <ac:spMkLst>
            <pc:docMk/>
            <pc:sldMk cId="1903397118" sldId="5004"/>
            <ac:spMk id="81" creationId="{B905BD11-D746-EC78-AC38-88B762F219E9}"/>
          </ac:spMkLst>
        </pc:spChg>
        <pc:spChg chg="mod">
          <ac:chgData name="Jacob, Karen (SPAC/PSPC) (elle-la / she-her)" userId="66e9cce0-e37b-4645-a907-f7690bd68dfb" providerId="ADAL" clId="{871AC57A-6E3B-4D85-BA02-8D6F5065EA89}" dt="2024-06-05T17:57:36.566" v="146"/>
          <ac:spMkLst>
            <pc:docMk/>
            <pc:sldMk cId="1903397118" sldId="5004"/>
            <ac:spMk id="82" creationId="{3ED2532C-3D6E-E7FD-7F1F-0E30734185A2}"/>
          </ac:spMkLst>
        </pc:spChg>
        <pc:spChg chg="mod">
          <ac:chgData name="Jacob, Karen (SPAC/PSPC) (elle-la / she-her)" userId="66e9cce0-e37b-4645-a907-f7690bd68dfb" providerId="ADAL" clId="{871AC57A-6E3B-4D85-BA02-8D6F5065EA89}" dt="2024-06-05T17:57:36.566" v="146"/>
          <ac:spMkLst>
            <pc:docMk/>
            <pc:sldMk cId="1903397118" sldId="5004"/>
            <ac:spMk id="83" creationId="{7F5802B9-B5AD-767F-4947-FA1998C14230}"/>
          </ac:spMkLst>
        </pc:spChg>
        <pc:spChg chg="mod">
          <ac:chgData name="Jacob, Karen (SPAC/PSPC) (elle-la / she-her)" userId="66e9cce0-e37b-4645-a907-f7690bd68dfb" providerId="ADAL" clId="{871AC57A-6E3B-4D85-BA02-8D6F5065EA89}" dt="2024-06-05T17:57:36.566" v="146"/>
          <ac:spMkLst>
            <pc:docMk/>
            <pc:sldMk cId="1903397118" sldId="5004"/>
            <ac:spMk id="84" creationId="{DE840534-41CE-3AFA-8BDD-AD2BABD70574}"/>
          </ac:spMkLst>
        </pc:spChg>
        <pc:spChg chg="mod">
          <ac:chgData name="Jacob, Karen (SPAC/PSPC) (elle-la / she-her)" userId="66e9cce0-e37b-4645-a907-f7690bd68dfb" providerId="ADAL" clId="{871AC57A-6E3B-4D85-BA02-8D6F5065EA89}" dt="2024-06-05T17:57:36.566" v="146"/>
          <ac:spMkLst>
            <pc:docMk/>
            <pc:sldMk cId="1903397118" sldId="5004"/>
            <ac:spMk id="85" creationId="{D27CBB78-F92A-74F1-716D-C29D29C4E2DD}"/>
          </ac:spMkLst>
        </pc:spChg>
        <pc:spChg chg="mod">
          <ac:chgData name="Jacob, Karen (SPAC/PSPC) (elle-la / she-her)" userId="66e9cce0-e37b-4645-a907-f7690bd68dfb" providerId="ADAL" clId="{871AC57A-6E3B-4D85-BA02-8D6F5065EA89}" dt="2024-06-05T17:57:36.566" v="146"/>
          <ac:spMkLst>
            <pc:docMk/>
            <pc:sldMk cId="1903397118" sldId="5004"/>
            <ac:spMk id="86" creationId="{9BCFA881-A5FE-0BF1-FBD9-7D89FE5F7363}"/>
          </ac:spMkLst>
        </pc:spChg>
        <pc:spChg chg="mod">
          <ac:chgData name="Jacob, Karen (SPAC/PSPC) (elle-la / she-her)" userId="66e9cce0-e37b-4645-a907-f7690bd68dfb" providerId="ADAL" clId="{871AC57A-6E3B-4D85-BA02-8D6F5065EA89}" dt="2024-06-05T17:57:36.566" v="146"/>
          <ac:spMkLst>
            <pc:docMk/>
            <pc:sldMk cId="1903397118" sldId="5004"/>
            <ac:spMk id="87" creationId="{C67913CA-FBB6-8E59-3B47-CC752D960E8A}"/>
          </ac:spMkLst>
        </pc:spChg>
        <pc:spChg chg="mod">
          <ac:chgData name="Jacob, Karen (SPAC/PSPC) (elle-la / she-her)" userId="66e9cce0-e37b-4645-a907-f7690bd68dfb" providerId="ADAL" clId="{871AC57A-6E3B-4D85-BA02-8D6F5065EA89}" dt="2024-06-05T17:57:36.566" v="146"/>
          <ac:spMkLst>
            <pc:docMk/>
            <pc:sldMk cId="1903397118" sldId="5004"/>
            <ac:spMk id="88" creationId="{4535D3C3-D201-46BD-517C-9EE96811D02C}"/>
          </ac:spMkLst>
        </pc:spChg>
        <pc:spChg chg="mod">
          <ac:chgData name="Jacob, Karen (SPAC/PSPC) (elle-la / she-her)" userId="66e9cce0-e37b-4645-a907-f7690bd68dfb" providerId="ADAL" clId="{871AC57A-6E3B-4D85-BA02-8D6F5065EA89}" dt="2024-06-05T17:57:36.566" v="146"/>
          <ac:spMkLst>
            <pc:docMk/>
            <pc:sldMk cId="1903397118" sldId="5004"/>
            <ac:spMk id="89" creationId="{6A7C07B4-68D1-A970-B605-24F35BBB35A7}"/>
          </ac:spMkLst>
        </pc:spChg>
        <pc:spChg chg="mod">
          <ac:chgData name="Jacob, Karen (SPAC/PSPC) (elle-la / she-her)" userId="66e9cce0-e37b-4645-a907-f7690bd68dfb" providerId="ADAL" clId="{871AC57A-6E3B-4D85-BA02-8D6F5065EA89}" dt="2024-06-05T17:57:36.566" v="146"/>
          <ac:spMkLst>
            <pc:docMk/>
            <pc:sldMk cId="1903397118" sldId="5004"/>
            <ac:spMk id="90" creationId="{D54D1952-E514-8DDC-7E7E-016D0797C5DA}"/>
          </ac:spMkLst>
        </pc:spChg>
        <pc:spChg chg="mod">
          <ac:chgData name="Jacob, Karen (SPAC/PSPC) (elle-la / she-her)" userId="66e9cce0-e37b-4645-a907-f7690bd68dfb" providerId="ADAL" clId="{871AC57A-6E3B-4D85-BA02-8D6F5065EA89}" dt="2024-06-05T17:57:36.566" v="146"/>
          <ac:spMkLst>
            <pc:docMk/>
            <pc:sldMk cId="1903397118" sldId="5004"/>
            <ac:spMk id="91" creationId="{5B1A05A6-4C75-FB67-F1FA-0477B6C4D8DB}"/>
          </ac:spMkLst>
        </pc:spChg>
        <pc:spChg chg="mod">
          <ac:chgData name="Jacob, Karen (SPAC/PSPC) (elle-la / she-her)" userId="66e9cce0-e37b-4645-a907-f7690bd68dfb" providerId="ADAL" clId="{871AC57A-6E3B-4D85-BA02-8D6F5065EA89}" dt="2024-06-05T17:57:36.566" v="146"/>
          <ac:spMkLst>
            <pc:docMk/>
            <pc:sldMk cId="1903397118" sldId="5004"/>
            <ac:spMk id="92" creationId="{C0247F68-5DEC-9445-26F3-EBB29D59670A}"/>
          </ac:spMkLst>
        </pc:spChg>
        <pc:spChg chg="mod">
          <ac:chgData name="Jacob, Karen (SPAC/PSPC) (elle-la / she-her)" userId="66e9cce0-e37b-4645-a907-f7690bd68dfb" providerId="ADAL" clId="{871AC57A-6E3B-4D85-BA02-8D6F5065EA89}" dt="2024-06-05T17:57:36.566" v="146"/>
          <ac:spMkLst>
            <pc:docMk/>
            <pc:sldMk cId="1903397118" sldId="5004"/>
            <ac:spMk id="93" creationId="{04B7802C-C2B8-F385-73CE-BD6028BC5CD9}"/>
          </ac:spMkLst>
        </pc:spChg>
        <pc:spChg chg="mod">
          <ac:chgData name="Jacob, Karen (SPAC/PSPC) (elle-la / she-her)" userId="66e9cce0-e37b-4645-a907-f7690bd68dfb" providerId="ADAL" clId="{871AC57A-6E3B-4D85-BA02-8D6F5065EA89}" dt="2024-06-05T17:57:36.566" v="146"/>
          <ac:spMkLst>
            <pc:docMk/>
            <pc:sldMk cId="1903397118" sldId="5004"/>
            <ac:spMk id="94" creationId="{AF45B23E-F4F9-8782-7347-DFFFDB4F1D87}"/>
          </ac:spMkLst>
        </pc:spChg>
        <pc:spChg chg="mod">
          <ac:chgData name="Jacob, Karen (SPAC/PSPC) (elle-la / she-her)" userId="66e9cce0-e37b-4645-a907-f7690bd68dfb" providerId="ADAL" clId="{871AC57A-6E3B-4D85-BA02-8D6F5065EA89}" dt="2024-06-05T17:57:36.566" v="146"/>
          <ac:spMkLst>
            <pc:docMk/>
            <pc:sldMk cId="1903397118" sldId="5004"/>
            <ac:spMk id="95" creationId="{C70949E6-BAFB-E76B-2247-74EAE192A0C7}"/>
          </ac:spMkLst>
        </pc:spChg>
        <pc:spChg chg="mod">
          <ac:chgData name="Jacob, Karen (SPAC/PSPC) (elle-la / she-her)" userId="66e9cce0-e37b-4645-a907-f7690bd68dfb" providerId="ADAL" clId="{871AC57A-6E3B-4D85-BA02-8D6F5065EA89}" dt="2024-06-05T17:57:36.566" v="146"/>
          <ac:spMkLst>
            <pc:docMk/>
            <pc:sldMk cId="1903397118" sldId="5004"/>
            <ac:spMk id="96" creationId="{7D6AA9AC-CF31-4BD3-0DEA-3E21ABB8D987}"/>
          </ac:spMkLst>
        </pc:spChg>
        <pc:spChg chg="mod">
          <ac:chgData name="Jacob, Karen (SPAC/PSPC) (elle-la / she-her)" userId="66e9cce0-e37b-4645-a907-f7690bd68dfb" providerId="ADAL" clId="{871AC57A-6E3B-4D85-BA02-8D6F5065EA89}" dt="2024-06-05T17:57:36.566" v="146"/>
          <ac:spMkLst>
            <pc:docMk/>
            <pc:sldMk cId="1903397118" sldId="5004"/>
            <ac:spMk id="97" creationId="{E5DDC2F8-7D3A-5274-47A4-E006F14B8389}"/>
          </ac:spMkLst>
        </pc:spChg>
        <pc:spChg chg="mod">
          <ac:chgData name="Jacob, Karen (SPAC/PSPC) (elle-la / she-her)" userId="66e9cce0-e37b-4645-a907-f7690bd68dfb" providerId="ADAL" clId="{871AC57A-6E3B-4D85-BA02-8D6F5065EA89}" dt="2024-06-05T17:57:36.566" v="146"/>
          <ac:spMkLst>
            <pc:docMk/>
            <pc:sldMk cId="1903397118" sldId="5004"/>
            <ac:spMk id="98" creationId="{39542B28-D6BC-B57B-E969-093A072412B3}"/>
          </ac:spMkLst>
        </pc:spChg>
        <pc:spChg chg="mod">
          <ac:chgData name="Jacob, Karen (SPAC/PSPC) (elle-la / she-her)" userId="66e9cce0-e37b-4645-a907-f7690bd68dfb" providerId="ADAL" clId="{871AC57A-6E3B-4D85-BA02-8D6F5065EA89}" dt="2024-06-05T17:57:36.566" v="146"/>
          <ac:spMkLst>
            <pc:docMk/>
            <pc:sldMk cId="1903397118" sldId="5004"/>
            <ac:spMk id="99" creationId="{E1F5CCAA-C317-B4FA-2BAD-80B7A8CE0347}"/>
          </ac:spMkLst>
        </pc:spChg>
        <pc:spChg chg="mod">
          <ac:chgData name="Jacob, Karen (SPAC/PSPC) (elle-la / she-her)" userId="66e9cce0-e37b-4645-a907-f7690bd68dfb" providerId="ADAL" clId="{871AC57A-6E3B-4D85-BA02-8D6F5065EA89}" dt="2024-06-05T17:57:36.566" v="146"/>
          <ac:spMkLst>
            <pc:docMk/>
            <pc:sldMk cId="1903397118" sldId="5004"/>
            <ac:spMk id="100" creationId="{D8375932-B7F5-10EF-FF44-6FD56C9E84C1}"/>
          </ac:spMkLst>
        </pc:spChg>
        <pc:spChg chg="mod">
          <ac:chgData name="Jacob, Karen (SPAC/PSPC) (elle-la / she-her)" userId="66e9cce0-e37b-4645-a907-f7690bd68dfb" providerId="ADAL" clId="{871AC57A-6E3B-4D85-BA02-8D6F5065EA89}" dt="2024-06-05T17:57:36.566" v="146"/>
          <ac:spMkLst>
            <pc:docMk/>
            <pc:sldMk cId="1903397118" sldId="5004"/>
            <ac:spMk id="101" creationId="{B6326457-A8C1-21CE-0863-BDC8DF179195}"/>
          </ac:spMkLst>
        </pc:spChg>
        <pc:spChg chg="mod">
          <ac:chgData name="Jacob, Karen (SPAC/PSPC) (elle-la / she-her)" userId="66e9cce0-e37b-4645-a907-f7690bd68dfb" providerId="ADAL" clId="{871AC57A-6E3B-4D85-BA02-8D6F5065EA89}" dt="2024-06-05T17:57:36.566" v="146"/>
          <ac:spMkLst>
            <pc:docMk/>
            <pc:sldMk cId="1903397118" sldId="5004"/>
            <ac:spMk id="102" creationId="{7627A84B-4C3A-2E2F-CA75-22E8F7E6D651}"/>
          </ac:spMkLst>
        </pc:spChg>
        <pc:spChg chg="mod">
          <ac:chgData name="Jacob, Karen (SPAC/PSPC) (elle-la / she-her)" userId="66e9cce0-e37b-4645-a907-f7690bd68dfb" providerId="ADAL" clId="{871AC57A-6E3B-4D85-BA02-8D6F5065EA89}" dt="2024-06-05T17:57:36.566" v="146"/>
          <ac:spMkLst>
            <pc:docMk/>
            <pc:sldMk cId="1903397118" sldId="5004"/>
            <ac:spMk id="103" creationId="{390E6BED-766A-7B05-D819-DDDD2C7D0619}"/>
          </ac:spMkLst>
        </pc:spChg>
        <pc:spChg chg="mod">
          <ac:chgData name="Jacob, Karen (SPAC/PSPC) (elle-la / she-her)" userId="66e9cce0-e37b-4645-a907-f7690bd68dfb" providerId="ADAL" clId="{871AC57A-6E3B-4D85-BA02-8D6F5065EA89}" dt="2024-06-05T17:57:36.566" v="146"/>
          <ac:spMkLst>
            <pc:docMk/>
            <pc:sldMk cId="1903397118" sldId="5004"/>
            <ac:spMk id="104" creationId="{7C362A91-DAF2-E156-FE5E-09668778318E}"/>
          </ac:spMkLst>
        </pc:spChg>
        <pc:spChg chg="mod">
          <ac:chgData name="Jacob, Karen (SPAC/PSPC) (elle-la / she-her)" userId="66e9cce0-e37b-4645-a907-f7690bd68dfb" providerId="ADAL" clId="{871AC57A-6E3B-4D85-BA02-8D6F5065EA89}" dt="2024-06-05T17:57:36.566" v="146"/>
          <ac:spMkLst>
            <pc:docMk/>
            <pc:sldMk cId="1903397118" sldId="5004"/>
            <ac:spMk id="105" creationId="{275FAAEF-EC2F-39CA-0B99-D010DC709365}"/>
          </ac:spMkLst>
        </pc:spChg>
        <pc:spChg chg="mod">
          <ac:chgData name="Jacob, Karen (SPAC/PSPC) (elle-la / she-her)" userId="66e9cce0-e37b-4645-a907-f7690bd68dfb" providerId="ADAL" clId="{871AC57A-6E3B-4D85-BA02-8D6F5065EA89}" dt="2024-06-05T17:57:36.566" v="146"/>
          <ac:spMkLst>
            <pc:docMk/>
            <pc:sldMk cId="1903397118" sldId="5004"/>
            <ac:spMk id="106" creationId="{BFB34C78-6602-ADDF-A416-03E6525BE4B4}"/>
          </ac:spMkLst>
        </pc:spChg>
        <pc:spChg chg="mod">
          <ac:chgData name="Jacob, Karen (SPAC/PSPC) (elle-la / she-her)" userId="66e9cce0-e37b-4645-a907-f7690bd68dfb" providerId="ADAL" clId="{871AC57A-6E3B-4D85-BA02-8D6F5065EA89}" dt="2024-06-05T17:57:36.566" v="146"/>
          <ac:spMkLst>
            <pc:docMk/>
            <pc:sldMk cId="1903397118" sldId="5004"/>
            <ac:spMk id="107" creationId="{C41AD9F7-6C74-DE7D-CE84-A481C4577904}"/>
          </ac:spMkLst>
        </pc:spChg>
        <pc:spChg chg="mod">
          <ac:chgData name="Jacob, Karen (SPAC/PSPC) (elle-la / she-her)" userId="66e9cce0-e37b-4645-a907-f7690bd68dfb" providerId="ADAL" clId="{871AC57A-6E3B-4D85-BA02-8D6F5065EA89}" dt="2024-06-05T17:57:36.566" v="146"/>
          <ac:spMkLst>
            <pc:docMk/>
            <pc:sldMk cId="1903397118" sldId="5004"/>
            <ac:spMk id="108" creationId="{8B7FF92F-8C17-DC71-3356-FB860C141D88}"/>
          </ac:spMkLst>
        </pc:spChg>
        <pc:spChg chg="mod">
          <ac:chgData name="Jacob, Karen (SPAC/PSPC) (elle-la / she-her)" userId="66e9cce0-e37b-4645-a907-f7690bd68dfb" providerId="ADAL" clId="{871AC57A-6E3B-4D85-BA02-8D6F5065EA89}" dt="2024-06-05T17:57:36.566" v="146"/>
          <ac:spMkLst>
            <pc:docMk/>
            <pc:sldMk cId="1903397118" sldId="5004"/>
            <ac:spMk id="109" creationId="{06641B49-5F93-3D8C-ECBF-8A2BA5BE3E5F}"/>
          </ac:spMkLst>
        </pc:spChg>
        <pc:spChg chg="mod">
          <ac:chgData name="Jacob, Karen (SPAC/PSPC) (elle-la / she-her)" userId="66e9cce0-e37b-4645-a907-f7690bd68dfb" providerId="ADAL" clId="{871AC57A-6E3B-4D85-BA02-8D6F5065EA89}" dt="2024-06-05T17:57:36.566" v="146"/>
          <ac:spMkLst>
            <pc:docMk/>
            <pc:sldMk cId="1903397118" sldId="5004"/>
            <ac:spMk id="110" creationId="{6B7C3E0A-ED8D-90F6-EFF9-3E4D8E02C5D2}"/>
          </ac:spMkLst>
        </pc:spChg>
        <pc:spChg chg="mod">
          <ac:chgData name="Jacob, Karen (SPAC/PSPC) (elle-la / she-her)" userId="66e9cce0-e37b-4645-a907-f7690bd68dfb" providerId="ADAL" clId="{871AC57A-6E3B-4D85-BA02-8D6F5065EA89}" dt="2024-06-05T17:57:36.566" v="146"/>
          <ac:spMkLst>
            <pc:docMk/>
            <pc:sldMk cId="1903397118" sldId="5004"/>
            <ac:spMk id="111" creationId="{AB8D2D30-9CA4-07D4-4ECB-0A522C36A802}"/>
          </ac:spMkLst>
        </pc:spChg>
        <pc:spChg chg="mod">
          <ac:chgData name="Jacob, Karen (SPAC/PSPC) (elle-la / she-her)" userId="66e9cce0-e37b-4645-a907-f7690bd68dfb" providerId="ADAL" clId="{871AC57A-6E3B-4D85-BA02-8D6F5065EA89}" dt="2024-06-05T17:57:36.566" v="146"/>
          <ac:spMkLst>
            <pc:docMk/>
            <pc:sldMk cId="1903397118" sldId="5004"/>
            <ac:spMk id="113" creationId="{7E1FB284-5CAB-6000-8D82-8F380A4663B8}"/>
          </ac:spMkLst>
        </pc:spChg>
        <pc:spChg chg="mod">
          <ac:chgData name="Jacob, Karen (SPAC/PSPC) (elle-la / she-her)" userId="66e9cce0-e37b-4645-a907-f7690bd68dfb" providerId="ADAL" clId="{871AC57A-6E3B-4D85-BA02-8D6F5065EA89}" dt="2024-06-05T17:57:36.566" v="146"/>
          <ac:spMkLst>
            <pc:docMk/>
            <pc:sldMk cId="1903397118" sldId="5004"/>
            <ac:spMk id="116" creationId="{5E49051C-3DBE-A209-15D8-3261A96A342F}"/>
          </ac:spMkLst>
        </pc:spChg>
        <pc:spChg chg="mod">
          <ac:chgData name="Jacob, Karen (SPAC/PSPC) (elle-la / she-her)" userId="66e9cce0-e37b-4645-a907-f7690bd68dfb" providerId="ADAL" clId="{871AC57A-6E3B-4D85-BA02-8D6F5065EA89}" dt="2024-06-05T17:57:36.566" v="146"/>
          <ac:spMkLst>
            <pc:docMk/>
            <pc:sldMk cId="1903397118" sldId="5004"/>
            <ac:spMk id="118" creationId="{619168B9-D91B-4565-A6D0-B467A4625071}"/>
          </ac:spMkLst>
        </pc:spChg>
        <pc:spChg chg="mod">
          <ac:chgData name="Jacob, Karen (SPAC/PSPC) (elle-la / she-her)" userId="66e9cce0-e37b-4645-a907-f7690bd68dfb" providerId="ADAL" clId="{871AC57A-6E3B-4D85-BA02-8D6F5065EA89}" dt="2024-06-05T17:57:36.566" v="146"/>
          <ac:spMkLst>
            <pc:docMk/>
            <pc:sldMk cId="1903397118" sldId="5004"/>
            <ac:spMk id="119" creationId="{703EEBD4-314F-411A-F42A-C38CB39F16B1}"/>
          </ac:spMkLst>
        </pc:spChg>
        <pc:spChg chg="mod">
          <ac:chgData name="Jacob, Karen (SPAC/PSPC) (elle-la / she-her)" userId="66e9cce0-e37b-4645-a907-f7690bd68dfb" providerId="ADAL" clId="{871AC57A-6E3B-4D85-BA02-8D6F5065EA89}" dt="2024-06-05T17:57:36.566" v="146"/>
          <ac:spMkLst>
            <pc:docMk/>
            <pc:sldMk cId="1903397118" sldId="5004"/>
            <ac:spMk id="121" creationId="{3D82D8B4-E0D5-E32B-463D-450D744FA29B}"/>
          </ac:spMkLst>
        </pc:spChg>
        <pc:spChg chg="mod">
          <ac:chgData name="Jacob, Karen (SPAC/PSPC) (elle-la / she-her)" userId="66e9cce0-e37b-4645-a907-f7690bd68dfb" providerId="ADAL" clId="{871AC57A-6E3B-4D85-BA02-8D6F5065EA89}" dt="2024-06-05T17:57:36.566" v="146"/>
          <ac:spMkLst>
            <pc:docMk/>
            <pc:sldMk cId="1903397118" sldId="5004"/>
            <ac:spMk id="122" creationId="{81656138-CEA5-6938-278E-BAC1B65AA7DF}"/>
          </ac:spMkLst>
        </pc:spChg>
        <pc:spChg chg="mod">
          <ac:chgData name="Jacob, Karen (SPAC/PSPC) (elle-la / she-her)" userId="66e9cce0-e37b-4645-a907-f7690bd68dfb" providerId="ADAL" clId="{871AC57A-6E3B-4D85-BA02-8D6F5065EA89}" dt="2024-06-05T17:57:36.566" v="146"/>
          <ac:spMkLst>
            <pc:docMk/>
            <pc:sldMk cId="1903397118" sldId="5004"/>
            <ac:spMk id="123" creationId="{97AB0333-DE57-69D1-77D6-2E3306E629D6}"/>
          </ac:spMkLst>
        </pc:spChg>
        <pc:spChg chg="mod">
          <ac:chgData name="Jacob, Karen (SPAC/PSPC) (elle-la / she-her)" userId="66e9cce0-e37b-4645-a907-f7690bd68dfb" providerId="ADAL" clId="{871AC57A-6E3B-4D85-BA02-8D6F5065EA89}" dt="2024-06-05T17:57:36.566" v="146"/>
          <ac:spMkLst>
            <pc:docMk/>
            <pc:sldMk cId="1903397118" sldId="5004"/>
            <ac:spMk id="124" creationId="{976B6E8E-8416-071B-A5F0-0EAD1B0AFDA1}"/>
          </ac:spMkLst>
        </pc:spChg>
        <pc:spChg chg="mod">
          <ac:chgData name="Jacob, Karen (SPAC/PSPC) (elle-la / she-her)" userId="66e9cce0-e37b-4645-a907-f7690bd68dfb" providerId="ADAL" clId="{871AC57A-6E3B-4D85-BA02-8D6F5065EA89}" dt="2024-06-05T17:57:36.566" v="146"/>
          <ac:spMkLst>
            <pc:docMk/>
            <pc:sldMk cId="1903397118" sldId="5004"/>
            <ac:spMk id="125" creationId="{02CDC2B3-EFE7-22CB-AE70-C073F5A7A022}"/>
          </ac:spMkLst>
        </pc:spChg>
        <pc:spChg chg="mod">
          <ac:chgData name="Jacob, Karen (SPAC/PSPC) (elle-la / she-her)" userId="66e9cce0-e37b-4645-a907-f7690bd68dfb" providerId="ADAL" clId="{871AC57A-6E3B-4D85-BA02-8D6F5065EA89}" dt="2024-06-05T17:57:36.566" v="146"/>
          <ac:spMkLst>
            <pc:docMk/>
            <pc:sldMk cId="1903397118" sldId="5004"/>
            <ac:spMk id="126" creationId="{F4C4D0F6-AF28-EA73-D670-6D34C86CD72E}"/>
          </ac:spMkLst>
        </pc:spChg>
        <pc:spChg chg="mod">
          <ac:chgData name="Jacob, Karen (SPAC/PSPC) (elle-la / she-her)" userId="66e9cce0-e37b-4645-a907-f7690bd68dfb" providerId="ADAL" clId="{871AC57A-6E3B-4D85-BA02-8D6F5065EA89}" dt="2024-06-05T17:57:36.566" v="146"/>
          <ac:spMkLst>
            <pc:docMk/>
            <pc:sldMk cId="1903397118" sldId="5004"/>
            <ac:spMk id="127" creationId="{304B0CBC-B3D2-8258-F5EF-863CD14B8859}"/>
          </ac:spMkLst>
        </pc:spChg>
        <pc:spChg chg="mod">
          <ac:chgData name="Jacob, Karen (SPAC/PSPC) (elle-la / she-her)" userId="66e9cce0-e37b-4645-a907-f7690bd68dfb" providerId="ADAL" clId="{871AC57A-6E3B-4D85-BA02-8D6F5065EA89}" dt="2024-06-05T17:57:36.566" v="146"/>
          <ac:spMkLst>
            <pc:docMk/>
            <pc:sldMk cId="1903397118" sldId="5004"/>
            <ac:spMk id="128" creationId="{BDB47304-D15A-8B0A-F8AE-0C3FF7ED408E}"/>
          </ac:spMkLst>
        </pc:spChg>
        <pc:spChg chg="mod">
          <ac:chgData name="Jacob, Karen (SPAC/PSPC) (elle-la / she-her)" userId="66e9cce0-e37b-4645-a907-f7690bd68dfb" providerId="ADAL" clId="{871AC57A-6E3B-4D85-BA02-8D6F5065EA89}" dt="2024-06-05T17:57:36.566" v="146"/>
          <ac:spMkLst>
            <pc:docMk/>
            <pc:sldMk cId="1903397118" sldId="5004"/>
            <ac:spMk id="129" creationId="{39118BA1-D270-DED6-EA03-C2852EBDFE1A}"/>
          </ac:spMkLst>
        </pc:spChg>
        <pc:spChg chg="mod">
          <ac:chgData name="Jacob, Karen (SPAC/PSPC) (elle-la / she-her)" userId="66e9cce0-e37b-4645-a907-f7690bd68dfb" providerId="ADAL" clId="{871AC57A-6E3B-4D85-BA02-8D6F5065EA89}" dt="2024-06-05T17:57:36.566" v="146"/>
          <ac:spMkLst>
            <pc:docMk/>
            <pc:sldMk cId="1903397118" sldId="5004"/>
            <ac:spMk id="130" creationId="{8143C546-709B-8D1B-FF7C-E3300FB6718E}"/>
          </ac:spMkLst>
        </pc:spChg>
        <pc:spChg chg="mod">
          <ac:chgData name="Jacob, Karen (SPAC/PSPC) (elle-la / she-her)" userId="66e9cce0-e37b-4645-a907-f7690bd68dfb" providerId="ADAL" clId="{871AC57A-6E3B-4D85-BA02-8D6F5065EA89}" dt="2024-06-05T17:57:36.566" v="146"/>
          <ac:spMkLst>
            <pc:docMk/>
            <pc:sldMk cId="1903397118" sldId="5004"/>
            <ac:spMk id="131" creationId="{3BBF554A-A643-52B0-6054-CE4CEB52BE0C}"/>
          </ac:spMkLst>
        </pc:spChg>
        <pc:spChg chg="mod">
          <ac:chgData name="Jacob, Karen (SPAC/PSPC) (elle-la / she-her)" userId="66e9cce0-e37b-4645-a907-f7690bd68dfb" providerId="ADAL" clId="{871AC57A-6E3B-4D85-BA02-8D6F5065EA89}" dt="2024-06-05T17:57:36.566" v="146"/>
          <ac:spMkLst>
            <pc:docMk/>
            <pc:sldMk cId="1903397118" sldId="5004"/>
            <ac:spMk id="132" creationId="{ADCFDB89-E7BA-1315-2107-B43BC008377F}"/>
          </ac:spMkLst>
        </pc:spChg>
        <pc:spChg chg="mod">
          <ac:chgData name="Jacob, Karen (SPAC/PSPC) (elle-la / she-her)" userId="66e9cce0-e37b-4645-a907-f7690bd68dfb" providerId="ADAL" clId="{871AC57A-6E3B-4D85-BA02-8D6F5065EA89}" dt="2024-06-05T17:57:36.566" v="146"/>
          <ac:spMkLst>
            <pc:docMk/>
            <pc:sldMk cId="1903397118" sldId="5004"/>
            <ac:spMk id="133" creationId="{692D97E4-F06A-B45E-E354-57F677935D66}"/>
          </ac:spMkLst>
        </pc:spChg>
        <pc:spChg chg="mod">
          <ac:chgData name="Jacob, Karen (SPAC/PSPC) (elle-la / she-her)" userId="66e9cce0-e37b-4645-a907-f7690bd68dfb" providerId="ADAL" clId="{871AC57A-6E3B-4D85-BA02-8D6F5065EA89}" dt="2024-06-05T17:57:36.566" v="146"/>
          <ac:spMkLst>
            <pc:docMk/>
            <pc:sldMk cId="1903397118" sldId="5004"/>
            <ac:spMk id="134" creationId="{44B5ACEE-2A34-D095-025E-D566286E7218}"/>
          </ac:spMkLst>
        </pc:spChg>
        <pc:spChg chg="mod">
          <ac:chgData name="Jacob, Karen (SPAC/PSPC) (elle-la / she-her)" userId="66e9cce0-e37b-4645-a907-f7690bd68dfb" providerId="ADAL" clId="{871AC57A-6E3B-4D85-BA02-8D6F5065EA89}" dt="2024-06-05T17:57:36.566" v="146"/>
          <ac:spMkLst>
            <pc:docMk/>
            <pc:sldMk cId="1903397118" sldId="5004"/>
            <ac:spMk id="135" creationId="{D5CC99BA-ACBD-1E10-FFF5-FDB5A8953BEF}"/>
          </ac:spMkLst>
        </pc:spChg>
        <pc:spChg chg="mod">
          <ac:chgData name="Jacob, Karen (SPAC/PSPC) (elle-la / she-her)" userId="66e9cce0-e37b-4645-a907-f7690bd68dfb" providerId="ADAL" clId="{871AC57A-6E3B-4D85-BA02-8D6F5065EA89}" dt="2024-06-05T17:57:36.566" v="146"/>
          <ac:spMkLst>
            <pc:docMk/>
            <pc:sldMk cId="1903397118" sldId="5004"/>
            <ac:spMk id="136" creationId="{BF90E114-1A91-9096-082A-FA91D56B74AC}"/>
          </ac:spMkLst>
        </pc:spChg>
        <pc:spChg chg="mod">
          <ac:chgData name="Jacob, Karen (SPAC/PSPC) (elle-la / she-her)" userId="66e9cce0-e37b-4645-a907-f7690bd68dfb" providerId="ADAL" clId="{871AC57A-6E3B-4D85-BA02-8D6F5065EA89}" dt="2024-06-05T17:57:36.566" v="146"/>
          <ac:spMkLst>
            <pc:docMk/>
            <pc:sldMk cId="1903397118" sldId="5004"/>
            <ac:spMk id="137" creationId="{CE4417DD-2581-A673-D5E3-2EC1C8978BE7}"/>
          </ac:spMkLst>
        </pc:spChg>
        <pc:spChg chg="mod">
          <ac:chgData name="Jacob, Karen (SPAC/PSPC) (elle-la / she-her)" userId="66e9cce0-e37b-4645-a907-f7690bd68dfb" providerId="ADAL" clId="{871AC57A-6E3B-4D85-BA02-8D6F5065EA89}" dt="2024-06-05T17:57:36.566" v="146"/>
          <ac:spMkLst>
            <pc:docMk/>
            <pc:sldMk cId="1903397118" sldId="5004"/>
            <ac:spMk id="138" creationId="{9E2FB841-9615-B8A8-263B-CE7F1B2E7E46}"/>
          </ac:spMkLst>
        </pc:spChg>
        <pc:spChg chg="mod">
          <ac:chgData name="Jacob, Karen (SPAC/PSPC) (elle-la / she-her)" userId="66e9cce0-e37b-4645-a907-f7690bd68dfb" providerId="ADAL" clId="{871AC57A-6E3B-4D85-BA02-8D6F5065EA89}" dt="2024-06-05T17:57:36.566" v="146"/>
          <ac:spMkLst>
            <pc:docMk/>
            <pc:sldMk cId="1903397118" sldId="5004"/>
            <ac:spMk id="139" creationId="{432C5A6F-0996-7DB8-C53B-244F8EFCDE6D}"/>
          </ac:spMkLst>
        </pc:spChg>
        <pc:spChg chg="mod">
          <ac:chgData name="Jacob, Karen (SPAC/PSPC) (elle-la / she-her)" userId="66e9cce0-e37b-4645-a907-f7690bd68dfb" providerId="ADAL" clId="{871AC57A-6E3B-4D85-BA02-8D6F5065EA89}" dt="2024-06-05T17:57:36.566" v="146"/>
          <ac:spMkLst>
            <pc:docMk/>
            <pc:sldMk cId="1903397118" sldId="5004"/>
            <ac:spMk id="140" creationId="{C0AB91AC-5726-7F25-51CC-43BF286632B5}"/>
          </ac:spMkLst>
        </pc:spChg>
        <pc:spChg chg="mod">
          <ac:chgData name="Jacob, Karen (SPAC/PSPC) (elle-la / she-her)" userId="66e9cce0-e37b-4645-a907-f7690bd68dfb" providerId="ADAL" clId="{871AC57A-6E3B-4D85-BA02-8D6F5065EA89}" dt="2024-06-05T17:57:36.566" v="146"/>
          <ac:spMkLst>
            <pc:docMk/>
            <pc:sldMk cId="1903397118" sldId="5004"/>
            <ac:spMk id="141" creationId="{D36EB7B7-219C-866E-7C23-EF5E0FA31AE5}"/>
          </ac:spMkLst>
        </pc:spChg>
        <pc:spChg chg="mod">
          <ac:chgData name="Jacob, Karen (SPAC/PSPC) (elle-la / she-her)" userId="66e9cce0-e37b-4645-a907-f7690bd68dfb" providerId="ADAL" clId="{871AC57A-6E3B-4D85-BA02-8D6F5065EA89}" dt="2024-06-05T17:57:36.566" v="146"/>
          <ac:spMkLst>
            <pc:docMk/>
            <pc:sldMk cId="1903397118" sldId="5004"/>
            <ac:spMk id="142" creationId="{00432ADF-3DAA-219F-6936-B47243318D25}"/>
          </ac:spMkLst>
        </pc:spChg>
        <pc:spChg chg="mod">
          <ac:chgData name="Jacob, Karen (SPAC/PSPC) (elle-la / she-her)" userId="66e9cce0-e37b-4645-a907-f7690bd68dfb" providerId="ADAL" clId="{871AC57A-6E3B-4D85-BA02-8D6F5065EA89}" dt="2024-06-05T17:57:36.566" v="146"/>
          <ac:spMkLst>
            <pc:docMk/>
            <pc:sldMk cId="1903397118" sldId="5004"/>
            <ac:spMk id="143" creationId="{FBA5B74F-2BB8-AEFB-D86C-FE5CA76C371D}"/>
          </ac:spMkLst>
        </pc:spChg>
        <pc:spChg chg="mod">
          <ac:chgData name="Jacob, Karen (SPAC/PSPC) (elle-la / she-her)" userId="66e9cce0-e37b-4645-a907-f7690bd68dfb" providerId="ADAL" clId="{871AC57A-6E3B-4D85-BA02-8D6F5065EA89}" dt="2024-06-05T17:57:36.566" v="146"/>
          <ac:spMkLst>
            <pc:docMk/>
            <pc:sldMk cId="1903397118" sldId="5004"/>
            <ac:spMk id="144" creationId="{C61D99D4-A2F9-F7FA-98C7-3EE33D25D337}"/>
          </ac:spMkLst>
        </pc:spChg>
        <pc:spChg chg="mod">
          <ac:chgData name="Jacob, Karen (SPAC/PSPC) (elle-la / she-her)" userId="66e9cce0-e37b-4645-a907-f7690bd68dfb" providerId="ADAL" clId="{871AC57A-6E3B-4D85-BA02-8D6F5065EA89}" dt="2024-06-05T17:57:36.566" v="146"/>
          <ac:spMkLst>
            <pc:docMk/>
            <pc:sldMk cId="1903397118" sldId="5004"/>
            <ac:spMk id="145" creationId="{B874A8D0-8BB8-4134-8A86-5D3E34EBEEE0}"/>
          </ac:spMkLst>
        </pc:spChg>
        <pc:spChg chg="mod">
          <ac:chgData name="Jacob, Karen (SPAC/PSPC) (elle-la / she-her)" userId="66e9cce0-e37b-4645-a907-f7690bd68dfb" providerId="ADAL" clId="{871AC57A-6E3B-4D85-BA02-8D6F5065EA89}" dt="2024-06-05T17:57:36.566" v="146"/>
          <ac:spMkLst>
            <pc:docMk/>
            <pc:sldMk cId="1903397118" sldId="5004"/>
            <ac:spMk id="146" creationId="{555B335C-0AE6-626B-4444-F6DC3D4CC7F2}"/>
          </ac:spMkLst>
        </pc:spChg>
        <pc:spChg chg="mod">
          <ac:chgData name="Jacob, Karen (SPAC/PSPC) (elle-la / she-her)" userId="66e9cce0-e37b-4645-a907-f7690bd68dfb" providerId="ADAL" clId="{871AC57A-6E3B-4D85-BA02-8D6F5065EA89}" dt="2024-06-05T17:57:36.566" v="146"/>
          <ac:spMkLst>
            <pc:docMk/>
            <pc:sldMk cId="1903397118" sldId="5004"/>
            <ac:spMk id="147" creationId="{0110F9CB-6AA4-546E-E404-B38C9EC4C921}"/>
          </ac:spMkLst>
        </pc:spChg>
        <pc:spChg chg="mod">
          <ac:chgData name="Jacob, Karen (SPAC/PSPC) (elle-la / she-her)" userId="66e9cce0-e37b-4645-a907-f7690bd68dfb" providerId="ADAL" clId="{871AC57A-6E3B-4D85-BA02-8D6F5065EA89}" dt="2024-06-05T17:57:36.566" v="146"/>
          <ac:spMkLst>
            <pc:docMk/>
            <pc:sldMk cId="1903397118" sldId="5004"/>
            <ac:spMk id="148" creationId="{F1946410-D221-D0C7-928F-DA8508A84536}"/>
          </ac:spMkLst>
        </pc:spChg>
        <pc:spChg chg="mod">
          <ac:chgData name="Jacob, Karen (SPAC/PSPC) (elle-la / she-her)" userId="66e9cce0-e37b-4645-a907-f7690bd68dfb" providerId="ADAL" clId="{871AC57A-6E3B-4D85-BA02-8D6F5065EA89}" dt="2024-06-05T17:57:36.566" v="146"/>
          <ac:spMkLst>
            <pc:docMk/>
            <pc:sldMk cId="1903397118" sldId="5004"/>
            <ac:spMk id="149" creationId="{DA924EFA-DA6C-4E31-850B-A52B324C49E4}"/>
          </ac:spMkLst>
        </pc:spChg>
        <pc:spChg chg="mod">
          <ac:chgData name="Jacob, Karen (SPAC/PSPC) (elle-la / she-her)" userId="66e9cce0-e37b-4645-a907-f7690bd68dfb" providerId="ADAL" clId="{871AC57A-6E3B-4D85-BA02-8D6F5065EA89}" dt="2024-06-05T17:57:36.566" v="146"/>
          <ac:spMkLst>
            <pc:docMk/>
            <pc:sldMk cId="1903397118" sldId="5004"/>
            <ac:spMk id="150" creationId="{34D5BFB0-EF66-4088-B8A0-CD5C3E6C4482}"/>
          </ac:spMkLst>
        </pc:spChg>
        <pc:spChg chg="mod">
          <ac:chgData name="Jacob, Karen (SPAC/PSPC) (elle-la / she-her)" userId="66e9cce0-e37b-4645-a907-f7690bd68dfb" providerId="ADAL" clId="{871AC57A-6E3B-4D85-BA02-8D6F5065EA89}" dt="2024-06-05T17:57:36.566" v="146"/>
          <ac:spMkLst>
            <pc:docMk/>
            <pc:sldMk cId="1903397118" sldId="5004"/>
            <ac:spMk id="151" creationId="{4735D640-CEB8-72CF-2670-D90A8A75F9F3}"/>
          </ac:spMkLst>
        </pc:spChg>
        <pc:spChg chg="mod">
          <ac:chgData name="Jacob, Karen (SPAC/PSPC) (elle-la / she-her)" userId="66e9cce0-e37b-4645-a907-f7690bd68dfb" providerId="ADAL" clId="{871AC57A-6E3B-4D85-BA02-8D6F5065EA89}" dt="2024-06-05T17:57:36.566" v="146"/>
          <ac:spMkLst>
            <pc:docMk/>
            <pc:sldMk cId="1903397118" sldId="5004"/>
            <ac:spMk id="152" creationId="{684DAB29-21CF-C621-FB3A-6D86BA3CE689}"/>
          </ac:spMkLst>
        </pc:spChg>
        <pc:spChg chg="mod">
          <ac:chgData name="Jacob, Karen (SPAC/PSPC) (elle-la / she-her)" userId="66e9cce0-e37b-4645-a907-f7690bd68dfb" providerId="ADAL" clId="{871AC57A-6E3B-4D85-BA02-8D6F5065EA89}" dt="2024-06-05T17:57:36.566" v="146"/>
          <ac:spMkLst>
            <pc:docMk/>
            <pc:sldMk cId="1903397118" sldId="5004"/>
            <ac:spMk id="153" creationId="{4B1EC1A5-EA0F-A783-A927-19FF7F836E4F}"/>
          </ac:spMkLst>
        </pc:spChg>
        <pc:spChg chg="mod">
          <ac:chgData name="Jacob, Karen (SPAC/PSPC) (elle-la / she-her)" userId="66e9cce0-e37b-4645-a907-f7690bd68dfb" providerId="ADAL" clId="{871AC57A-6E3B-4D85-BA02-8D6F5065EA89}" dt="2024-06-05T17:57:36.566" v="146"/>
          <ac:spMkLst>
            <pc:docMk/>
            <pc:sldMk cId="1903397118" sldId="5004"/>
            <ac:spMk id="154" creationId="{D6E239E8-6F5B-2823-E189-0D7ADB6B7337}"/>
          </ac:spMkLst>
        </pc:spChg>
        <pc:spChg chg="mod">
          <ac:chgData name="Jacob, Karen (SPAC/PSPC) (elle-la / she-her)" userId="66e9cce0-e37b-4645-a907-f7690bd68dfb" providerId="ADAL" clId="{871AC57A-6E3B-4D85-BA02-8D6F5065EA89}" dt="2024-06-05T17:57:36.566" v="146"/>
          <ac:spMkLst>
            <pc:docMk/>
            <pc:sldMk cId="1903397118" sldId="5004"/>
            <ac:spMk id="155" creationId="{5E5D856C-ECE3-1997-E3AF-AF93C1BAF944}"/>
          </ac:spMkLst>
        </pc:spChg>
        <pc:spChg chg="mod">
          <ac:chgData name="Jacob, Karen (SPAC/PSPC) (elle-la / she-her)" userId="66e9cce0-e37b-4645-a907-f7690bd68dfb" providerId="ADAL" clId="{871AC57A-6E3B-4D85-BA02-8D6F5065EA89}" dt="2024-06-05T17:57:36.566" v="146"/>
          <ac:spMkLst>
            <pc:docMk/>
            <pc:sldMk cId="1903397118" sldId="5004"/>
            <ac:spMk id="156" creationId="{88A571E4-BB04-1CF8-9084-07217D7E9A96}"/>
          </ac:spMkLst>
        </pc:spChg>
        <pc:spChg chg="mod">
          <ac:chgData name="Jacob, Karen (SPAC/PSPC) (elle-la / she-her)" userId="66e9cce0-e37b-4645-a907-f7690bd68dfb" providerId="ADAL" clId="{871AC57A-6E3B-4D85-BA02-8D6F5065EA89}" dt="2024-06-05T17:57:36.566" v="146"/>
          <ac:spMkLst>
            <pc:docMk/>
            <pc:sldMk cId="1903397118" sldId="5004"/>
            <ac:spMk id="157" creationId="{8B6C933E-86FE-5316-0121-71E3042D87F3}"/>
          </ac:spMkLst>
        </pc:spChg>
        <pc:spChg chg="mod">
          <ac:chgData name="Jacob, Karen (SPAC/PSPC) (elle-la / she-her)" userId="66e9cce0-e37b-4645-a907-f7690bd68dfb" providerId="ADAL" clId="{871AC57A-6E3B-4D85-BA02-8D6F5065EA89}" dt="2024-06-05T17:57:36.566" v="146"/>
          <ac:spMkLst>
            <pc:docMk/>
            <pc:sldMk cId="1903397118" sldId="5004"/>
            <ac:spMk id="158" creationId="{00587F10-6853-DB94-7D89-F24EA90E56C9}"/>
          </ac:spMkLst>
        </pc:spChg>
        <pc:spChg chg="mod">
          <ac:chgData name="Jacob, Karen (SPAC/PSPC) (elle-la / she-her)" userId="66e9cce0-e37b-4645-a907-f7690bd68dfb" providerId="ADAL" clId="{871AC57A-6E3B-4D85-BA02-8D6F5065EA89}" dt="2024-06-05T17:57:36.566" v="146"/>
          <ac:spMkLst>
            <pc:docMk/>
            <pc:sldMk cId="1903397118" sldId="5004"/>
            <ac:spMk id="159" creationId="{98001638-4E30-ADDB-39E8-6FD9D2B74F5E}"/>
          </ac:spMkLst>
        </pc:spChg>
        <pc:spChg chg="mod">
          <ac:chgData name="Jacob, Karen (SPAC/PSPC) (elle-la / she-her)" userId="66e9cce0-e37b-4645-a907-f7690bd68dfb" providerId="ADAL" clId="{871AC57A-6E3B-4D85-BA02-8D6F5065EA89}" dt="2024-06-05T17:57:36.566" v="146"/>
          <ac:spMkLst>
            <pc:docMk/>
            <pc:sldMk cId="1903397118" sldId="5004"/>
            <ac:spMk id="160" creationId="{524FBC6F-008B-47BD-9B40-B183785B9167}"/>
          </ac:spMkLst>
        </pc:spChg>
        <pc:spChg chg="mod">
          <ac:chgData name="Jacob, Karen (SPAC/PSPC) (elle-la / she-her)" userId="66e9cce0-e37b-4645-a907-f7690bd68dfb" providerId="ADAL" clId="{871AC57A-6E3B-4D85-BA02-8D6F5065EA89}" dt="2024-06-05T17:57:36.566" v="146"/>
          <ac:spMkLst>
            <pc:docMk/>
            <pc:sldMk cId="1903397118" sldId="5004"/>
            <ac:spMk id="161" creationId="{426CE642-F77A-F89F-EFB5-548035F9162E}"/>
          </ac:spMkLst>
        </pc:spChg>
        <pc:spChg chg="mod">
          <ac:chgData name="Jacob, Karen (SPAC/PSPC) (elle-la / she-her)" userId="66e9cce0-e37b-4645-a907-f7690bd68dfb" providerId="ADAL" clId="{871AC57A-6E3B-4D85-BA02-8D6F5065EA89}" dt="2024-06-05T17:57:36.566" v="146"/>
          <ac:spMkLst>
            <pc:docMk/>
            <pc:sldMk cId="1903397118" sldId="5004"/>
            <ac:spMk id="162" creationId="{AB964056-44BD-ECF4-A236-2BFEEBEFF8A0}"/>
          </ac:spMkLst>
        </pc:spChg>
        <pc:spChg chg="add mod">
          <ac:chgData name="Jacob, Karen (SPAC/PSPC) (elle-la / she-her)" userId="66e9cce0-e37b-4645-a907-f7690bd68dfb" providerId="ADAL" clId="{871AC57A-6E3B-4D85-BA02-8D6F5065EA89}" dt="2024-06-05T17:57:36.566" v="146"/>
          <ac:spMkLst>
            <pc:docMk/>
            <pc:sldMk cId="1903397118" sldId="5004"/>
            <ac:spMk id="163" creationId="{49C12D4A-1C1B-A87B-839F-6D065985BAA0}"/>
          </ac:spMkLst>
        </pc:spChg>
        <pc:spChg chg="add mod">
          <ac:chgData name="Jacob, Karen (SPAC/PSPC) (elle-la / she-her)" userId="66e9cce0-e37b-4645-a907-f7690bd68dfb" providerId="ADAL" clId="{871AC57A-6E3B-4D85-BA02-8D6F5065EA89}" dt="2024-06-05T17:57:36.566" v="146"/>
          <ac:spMkLst>
            <pc:docMk/>
            <pc:sldMk cId="1903397118" sldId="5004"/>
            <ac:spMk id="164" creationId="{569A64ED-1470-7E05-808F-FE272E8E92EA}"/>
          </ac:spMkLst>
        </pc:spChg>
        <pc:spChg chg="mod">
          <ac:chgData name="Jacob, Karen (SPAC/PSPC) (elle-la / she-her)" userId="66e9cce0-e37b-4645-a907-f7690bd68dfb" providerId="ADAL" clId="{871AC57A-6E3B-4D85-BA02-8D6F5065EA89}" dt="2024-06-05T17:57:36.566" v="146"/>
          <ac:spMkLst>
            <pc:docMk/>
            <pc:sldMk cId="1903397118" sldId="5004"/>
            <ac:spMk id="166" creationId="{97EBCFEC-23C4-1282-3DE6-72F7D50BC431}"/>
          </ac:spMkLst>
        </pc:spChg>
        <pc:spChg chg="mod">
          <ac:chgData name="Jacob, Karen (SPAC/PSPC) (elle-la / she-her)" userId="66e9cce0-e37b-4645-a907-f7690bd68dfb" providerId="ADAL" clId="{871AC57A-6E3B-4D85-BA02-8D6F5065EA89}" dt="2024-06-05T17:57:36.566" v="146"/>
          <ac:spMkLst>
            <pc:docMk/>
            <pc:sldMk cId="1903397118" sldId="5004"/>
            <ac:spMk id="182" creationId="{D03630E6-5860-9B19-4514-6646A4415746}"/>
          </ac:spMkLst>
        </pc:spChg>
        <pc:spChg chg="mod">
          <ac:chgData name="Jacob, Karen (SPAC/PSPC) (elle-la / she-her)" userId="66e9cce0-e37b-4645-a907-f7690bd68dfb" providerId="ADAL" clId="{871AC57A-6E3B-4D85-BA02-8D6F5065EA89}" dt="2024-06-05T17:57:36.566" v="146"/>
          <ac:spMkLst>
            <pc:docMk/>
            <pc:sldMk cId="1903397118" sldId="5004"/>
            <ac:spMk id="183" creationId="{7FBAE34B-42CF-9F08-A2BD-C0ABC37692C8}"/>
          </ac:spMkLst>
        </pc:spChg>
        <pc:spChg chg="mod">
          <ac:chgData name="Jacob, Karen (SPAC/PSPC) (elle-la / she-her)" userId="66e9cce0-e37b-4645-a907-f7690bd68dfb" providerId="ADAL" clId="{871AC57A-6E3B-4D85-BA02-8D6F5065EA89}" dt="2024-06-05T17:57:36.566" v="146"/>
          <ac:spMkLst>
            <pc:docMk/>
            <pc:sldMk cId="1903397118" sldId="5004"/>
            <ac:spMk id="184" creationId="{0C604831-3DB7-953A-FA15-FD7426CE8960}"/>
          </ac:spMkLst>
        </pc:spChg>
        <pc:spChg chg="mod">
          <ac:chgData name="Jacob, Karen (SPAC/PSPC) (elle-la / she-her)" userId="66e9cce0-e37b-4645-a907-f7690bd68dfb" providerId="ADAL" clId="{871AC57A-6E3B-4D85-BA02-8D6F5065EA89}" dt="2024-06-05T17:57:36.566" v="146"/>
          <ac:spMkLst>
            <pc:docMk/>
            <pc:sldMk cId="1903397118" sldId="5004"/>
            <ac:spMk id="185" creationId="{EE26C301-1421-BFC9-DCD2-69A7CCAF6142}"/>
          </ac:spMkLst>
        </pc:spChg>
        <pc:spChg chg="mod">
          <ac:chgData name="Jacob, Karen (SPAC/PSPC) (elle-la / she-her)" userId="66e9cce0-e37b-4645-a907-f7690bd68dfb" providerId="ADAL" clId="{871AC57A-6E3B-4D85-BA02-8D6F5065EA89}" dt="2024-06-05T17:57:36.566" v="146"/>
          <ac:spMkLst>
            <pc:docMk/>
            <pc:sldMk cId="1903397118" sldId="5004"/>
            <ac:spMk id="186" creationId="{7131908F-6D78-19A4-2B53-48D91F8D0B81}"/>
          </ac:spMkLst>
        </pc:spChg>
        <pc:spChg chg="mod">
          <ac:chgData name="Jacob, Karen (SPAC/PSPC) (elle-la / she-her)" userId="66e9cce0-e37b-4645-a907-f7690bd68dfb" providerId="ADAL" clId="{871AC57A-6E3B-4D85-BA02-8D6F5065EA89}" dt="2024-06-05T17:57:36.566" v="146"/>
          <ac:spMkLst>
            <pc:docMk/>
            <pc:sldMk cId="1903397118" sldId="5004"/>
            <ac:spMk id="188" creationId="{28FC64A9-04F5-39CB-0A9E-1F9F830E1C0E}"/>
          </ac:spMkLst>
        </pc:spChg>
        <pc:spChg chg="mod">
          <ac:chgData name="Jacob, Karen (SPAC/PSPC) (elle-la / she-her)" userId="66e9cce0-e37b-4645-a907-f7690bd68dfb" providerId="ADAL" clId="{871AC57A-6E3B-4D85-BA02-8D6F5065EA89}" dt="2024-06-05T17:57:36.566" v="146"/>
          <ac:spMkLst>
            <pc:docMk/>
            <pc:sldMk cId="1903397118" sldId="5004"/>
            <ac:spMk id="190" creationId="{BCFF0F95-C8EB-6968-2A1E-70844EB64048}"/>
          </ac:spMkLst>
        </pc:spChg>
        <pc:spChg chg="mod">
          <ac:chgData name="Jacob, Karen (SPAC/PSPC) (elle-la / she-her)" userId="66e9cce0-e37b-4645-a907-f7690bd68dfb" providerId="ADAL" clId="{871AC57A-6E3B-4D85-BA02-8D6F5065EA89}" dt="2024-06-05T17:57:36.566" v="146"/>
          <ac:spMkLst>
            <pc:docMk/>
            <pc:sldMk cId="1903397118" sldId="5004"/>
            <ac:spMk id="191" creationId="{116394D7-B56C-A4AB-A65B-AD2AADB188CF}"/>
          </ac:spMkLst>
        </pc:spChg>
        <pc:spChg chg="mod">
          <ac:chgData name="Jacob, Karen (SPAC/PSPC) (elle-la / she-her)" userId="66e9cce0-e37b-4645-a907-f7690bd68dfb" providerId="ADAL" clId="{871AC57A-6E3B-4D85-BA02-8D6F5065EA89}" dt="2024-06-05T17:57:36.566" v="146"/>
          <ac:spMkLst>
            <pc:docMk/>
            <pc:sldMk cId="1903397118" sldId="5004"/>
            <ac:spMk id="192" creationId="{5137756C-0593-4917-049A-F51EB311C4B8}"/>
          </ac:spMkLst>
        </pc:spChg>
        <pc:spChg chg="mod">
          <ac:chgData name="Jacob, Karen (SPAC/PSPC) (elle-la / she-her)" userId="66e9cce0-e37b-4645-a907-f7690bd68dfb" providerId="ADAL" clId="{871AC57A-6E3B-4D85-BA02-8D6F5065EA89}" dt="2024-06-05T17:57:36.566" v="146"/>
          <ac:spMkLst>
            <pc:docMk/>
            <pc:sldMk cId="1903397118" sldId="5004"/>
            <ac:spMk id="193" creationId="{D01044A5-8215-1282-35C8-439B9022DB95}"/>
          </ac:spMkLst>
        </pc:spChg>
        <pc:spChg chg="mod">
          <ac:chgData name="Jacob, Karen (SPAC/PSPC) (elle-la / she-her)" userId="66e9cce0-e37b-4645-a907-f7690bd68dfb" providerId="ADAL" clId="{871AC57A-6E3B-4D85-BA02-8D6F5065EA89}" dt="2024-06-05T17:57:36.566" v="146"/>
          <ac:spMkLst>
            <pc:docMk/>
            <pc:sldMk cId="1903397118" sldId="5004"/>
            <ac:spMk id="194" creationId="{496B4B36-BEA8-07E4-C57A-447F9837AEC9}"/>
          </ac:spMkLst>
        </pc:spChg>
        <pc:spChg chg="mod">
          <ac:chgData name="Jacob, Karen (SPAC/PSPC) (elle-la / she-her)" userId="66e9cce0-e37b-4645-a907-f7690bd68dfb" providerId="ADAL" clId="{871AC57A-6E3B-4D85-BA02-8D6F5065EA89}" dt="2024-06-05T17:57:36.566" v="146"/>
          <ac:spMkLst>
            <pc:docMk/>
            <pc:sldMk cId="1903397118" sldId="5004"/>
            <ac:spMk id="195" creationId="{7FAA6CD0-C276-9747-6CFB-09092A8A29EE}"/>
          </ac:spMkLst>
        </pc:spChg>
        <pc:spChg chg="mod">
          <ac:chgData name="Jacob, Karen (SPAC/PSPC) (elle-la / she-her)" userId="66e9cce0-e37b-4645-a907-f7690bd68dfb" providerId="ADAL" clId="{871AC57A-6E3B-4D85-BA02-8D6F5065EA89}" dt="2024-06-05T17:57:36.566" v="146"/>
          <ac:spMkLst>
            <pc:docMk/>
            <pc:sldMk cId="1903397118" sldId="5004"/>
            <ac:spMk id="196" creationId="{E48157ED-1C5F-CD99-91BB-80AD63BB2F47}"/>
          </ac:spMkLst>
        </pc:spChg>
        <pc:spChg chg="mod">
          <ac:chgData name="Jacob, Karen (SPAC/PSPC) (elle-la / she-her)" userId="66e9cce0-e37b-4645-a907-f7690bd68dfb" providerId="ADAL" clId="{871AC57A-6E3B-4D85-BA02-8D6F5065EA89}" dt="2024-06-05T17:57:36.566" v="146"/>
          <ac:spMkLst>
            <pc:docMk/>
            <pc:sldMk cId="1903397118" sldId="5004"/>
            <ac:spMk id="197" creationId="{ACA82F8D-9A7F-1F6B-FE36-8E6A97CA10CB}"/>
          </ac:spMkLst>
        </pc:spChg>
        <pc:spChg chg="mod">
          <ac:chgData name="Jacob, Karen (SPAC/PSPC) (elle-la / she-her)" userId="66e9cce0-e37b-4645-a907-f7690bd68dfb" providerId="ADAL" clId="{871AC57A-6E3B-4D85-BA02-8D6F5065EA89}" dt="2024-06-05T17:57:36.566" v="146"/>
          <ac:spMkLst>
            <pc:docMk/>
            <pc:sldMk cId="1903397118" sldId="5004"/>
            <ac:spMk id="198" creationId="{72FDFDBD-F928-F189-C4C4-30F4F61F5965}"/>
          </ac:spMkLst>
        </pc:spChg>
        <pc:spChg chg="mod">
          <ac:chgData name="Jacob, Karen (SPAC/PSPC) (elle-la / she-her)" userId="66e9cce0-e37b-4645-a907-f7690bd68dfb" providerId="ADAL" clId="{871AC57A-6E3B-4D85-BA02-8D6F5065EA89}" dt="2024-06-05T17:57:36.566" v="146"/>
          <ac:spMkLst>
            <pc:docMk/>
            <pc:sldMk cId="1903397118" sldId="5004"/>
            <ac:spMk id="199" creationId="{45A7637F-5A9B-C9CF-3895-FDED23B92646}"/>
          </ac:spMkLst>
        </pc:spChg>
        <pc:spChg chg="mod">
          <ac:chgData name="Jacob, Karen (SPAC/PSPC) (elle-la / she-her)" userId="66e9cce0-e37b-4645-a907-f7690bd68dfb" providerId="ADAL" clId="{871AC57A-6E3B-4D85-BA02-8D6F5065EA89}" dt="2024-06-05T17:57:36.566" v="146"/>
          <ac:spMkLst>
            <pc:docMk/>
            <pc:sldMk cId="1903397118" sldId="5004"/>
            <ac:spMk id="200" creationId="{9574C423-922B-E834-944C-72F26D86BA93}"/>
          </ac:spMkLst>
        </pc:spChg>
        <pc:spChg chg="mod">
          <ac:chgData name="Jacob, Karen (SPAC/PSPC) (elle-la / she-her)" userId="66e9cce0-e37b-4645-a907-f7690bd68dfb" providerId="ADAL" clId="{871AC57A-6E3B-4D85-BA02-8D6F5065EA89}" dt="2024-06-05T17:57:36.566" v="146"/>
          <ac:spMkLst>
            <pc:docMk/>
            <pc:sldMk cId="1903397118" sldId="5004"/>
            <ac:spMk id="201" creationId="{511774EC-EB4B-C365-213D-3F7EBD47A0A0}"/>
          </ac:spMkLst>
        </pc:spChg>
        <pc:spChg chg="mod">
          <ac:chgData name="Jacob, Karen (SPAC/PSPC) (elle-la / she-her)" userId="66e9cce0-e37b-4645-a907-f7690bd68dfb" providerId="ADAL" clId="{871AC57A-6E3B-4D85-BA02-8D6F5065EA89}" dt="2024-06-05T17:57:36.566" v="146"/>
          <ac:spMkLst>
            <pc:docMk/>
            <pc:sldMk cId="1903397118" sldId="5004"/>
            <ac:spMk id="202" creationId="{81E8EE4E-1D2E-AEE4-4E9A-098AE940E95A}"/>
          </ac:spMkLst>
        </pc:spChg>
        <pc:spChg chg="mod">
          <ac:chgData name="Jacob, Karen (SPAC/PSPC) (elle-la / she-her)" userId="66e9cce0-e37b-4645-a907-f7690bd68dfb" providerId="ADAL" clId="{871AC57A-6E3B-4D85-BA02-8D6F5065EA89}" dt="2024-06-05T17:57:36.566" v="146"/>
          <ac:spMkLst>
            <pc:docMk/>
            <pc:sldMk cId="1903397118" sldId="5004"/>
            <ac:spMk id="203" creationId="{4DA3DFA0-5D3E-C187-C2EF-B510C5A31DF1}"/>
          </ac:spMkLst>
        </pc:spChg>
        <pc:spChg chg="mod">
          <ac:chgData name="Jacob, Karen (SPAC/PSPC) (elle-la / she-her)" userId="66e9cce0-e37b-4645-a907-f7690bd68dfb" providerId="ADAL" clId="{871AC57A-6E3B-4D85-BA02-8D6F5065EA89}" dt="2024-06-05T17:57:36.566" v="146"/>
          <ac:spMkLst>
            <pc:docMk/>
            <pc:sldMk cId="1903397118" sldId="5004"/>
            <ac:spMk id="204" creationId="{D06DED7F-CFAC-45F4-9C9D-C42FBB5A32F3}"/>
          </ac:spMkLst>
        </pc:spChg>
        <pc:spChg chg="mod">
          <ac:chgData name="Jacob, Karen (SPAC/PSPC) (elle-la / she-her)" userId="66e9cce0-e37b-4645-a907-f7690bd68dfb" providerId="ADAL" clId="{871AC57A-6E3B-4D85-BA02-8D6F5065EA89}" dt="2024-06-05T17:57:36.566" v="146"/>
          <ac:spMkLst>
            <pc:docMk/>
            <pc:sldMk cId="1903397118" sldId="5004"/>
            <ac:spMk id="205" creationId="{0479A56B-720E-2969-3A5C-55E41B1C847D}"/>
          </ac:spMkLst>
        </pc:spChg>
        <pc:spChg chg="mod">
          <ac:chgData name="Jacob, Karen (SPAC/PSPC) (elle-la / she-her)" userId="66e9cce0-e37b-4645-a907-f7690bd68dfb" providerId="ADAL" clId="{871AC57A-6E3B-4D85-BA02-8D6F5065EA89}" dt="2024-06-05T17:57:36.566" v="146"/>
          <ac:spMkLst>
            <pc:docMk/>
            <pc:sldMk cId="1903397118" sldId="5004"/>
            <ac:spMk id="206" creationId="{EB69AE57-915C-2857-B5A2-2D99EEFAA2A8}"/>
          </ac:spMkLst>
        </pc:spChg>
        <pc:spChg chg="mod">
          <ac:chgData name="Jacob, Karen (SPAC/PSPC) (elle-la / she-her)" userId="66e9cce0-e37b-4645-a907-f7690bd68dfb" providerId="ADAL" clId="{871AC57A-6E3B-4D85-BA02-8D6F5065EA89}" dt="2024-06-05T17:57:36.566" v="146"/>
          <ac:spMkLst>
            <pc:docMk/>
            <pc:sldMk cId="1903397118" sldId="5004"/>
            <ac:spMk id="207" creationId="{6746BF7C-320F-F8E6-634E-A2C1B8018A58}"/>
          </ac:spMkLst>
        </pc:spChg>
        <pc:spChg chg="mod">
          <ac:chgData name="Jacob, Karen (SPAC/PSPC) (elle-la / she-her)" userId="66e9cce0-e37b-4645-a907-f7690bd68dfb" providerId="ADAL" clId="{871AC57A-6E3B-4D85-BA02-8D6F5065EA89}" dt="2024-06-05T17:57:36.566" v="146"/>
          <ac:spMkLst>
            <pc:docMk/>
            <pc:sldMk cId="1903397118" sldId="5004"/>
            <ac:spMk id="208" creationId="{11A87170-0810-A434-BE17-B4F48AC51419}"/>
          </ac:spMkLst>
        </pc:spChg>
        <pc:spChg chg="mod">
          <ac:chgData name="Jacob, Karen (SPAC/PSPC) (elle-la / she-her)" userId="66e9cce0-e37b-4645-a907-f7690bd68dfb" providerId="ADAL" clId="{871AC57A-6E3B-4D85-BA02-8D6F5065EA89}" dt="2024-06-05T17:57:36.566" v="146"/>
          <ac:spMkLst>
            <pc:docMk/>
            <pc:sldMk cId="1903397118" sldId="5004"/>
            <ac:spMk id="209" creationId="{7CF28395-3297-379E-4331-5EB077F9739B}"/>
          </ac:spMkLst>
        </pc:spChg>
        <pc:spChg chg="mod">
          <ac:chgData name="Jacob, Karen (SPAC/PSPC) (elle-la / she-her)" userId="66e9cce0-e37b-4645-a907-f7690bd68dfb" providerId="ADAL" clId="{871AC57A-6E3B-4D85-BA02-8D6F5065EA89}" dt="2024-06-05T17:57:36.566" v="146"/>
          <ac:spMkLst>
            <pc:docMk/>
            <pc:sldMk cId="1903397118" sldId="5004"/>
            <ac:spMk id="210" creationId="{C944714E-C0D8-68E5-0ABA-386158F19EC0}"/>
          </ac:spMkLst>
        </pc:spChg>
        <pc:spChg chg="mod">
          <ac:chgData name="Jacob, Karen (SPAC/PSPC) (elle-la / she-her)" userId="66e9cce0-e37b-4645-a907-f7690bd68dfb" providerId="ADAL" clId="{871AC57A-6E3B-4D85-BA02-8D6F5065EA89}" dt="2024-06-05T17:57:36.566" v="146"/>
          <ac:spMkLst>
            <pc:docMk/>
            <pc:sldMk cId="1903397118" sldId="5004"/>
            <ac:spMk id="211" creationId="{A8B4FE8D-9EC7-5DDE-783A-7DA9592F31BB}"/>
          </ac:spMkLst>
        </pc:spChg>
        <pc:spChg chg="mod">
          <ac:chgData name="Jacob, Karen (SPAC/PSPC) (elle-la / she-her)" userId="66e9cce0-e37b-4645-a907-f7690bd68dfb" providerId="ADAL" clId="{871AC57A-6E3B-4D85-BA02-8D6F5065EA89}" dt="2024-06-05T17:57:36.566" v="146"/>
          <ac:spMkLst>
            <pc:docMk/>
            <pc:sldMk cId="1903397118" sldId="5004"/>
            <ac:spMk id="212" creationId="{BCB83B0D-9E7E-CE30-550F-F64E0531EB1D}"/>
          </ac:spMkLst>
        </pc:spChg>
        <pc:spChg chg="mod">
          <ac:chgData name="Jacob, Karen (SPAC/PSPC) (elle-la / she-her)" userId="66e9cce0-e37b-4645-a907-f7690bd68dfb" providerId="ADAL" clId="{871AC57A-6E3B-4D85-BA02-8D6F5065EA89}" dt="2024-06-05T17:57:36.566" v="146"/>
          <ac:spMkLst>
            <pc:docMk/>
            <pc:sldMk cId="1903397118" sldId="5004"/>
            <ac:spMk id="213" creationId="{B32A0301-ABC4-88E5-7AE3-E750724940AA}"/>
          </ac:spMkLst>
        </pc:spChg>
        <pc:spChg chg="mod">
          <ac:chgData name="Jacob, Karen (SPAC/PSPC) (elle-la / she-her)" userId="66e9cce0-e37b-4645-a907-f7690bd68dfb" providerId="ADAL" clId="{871AC57A-6E3B-4D85-BA02-8D6F5065EA89}" dt="2024-06-05T17:57:36.566" v="146"/>
          <ac:spMkLst>
            <pc:docMk/>
            <pc:sldMk cId="1903397118" sldId="5004"/>
            <ac:spMk id="214" creationId="{6E11AE8F-D3B9-6256-58E1-8434807ED11D}"/>
          </ac:spMkLst>
        </pc:spChg>
        <pc:spChg chg="mod">
          <ac:chgData name="Jacob, Karen (SPAC/PSPC) (elle-la / she-her)" userId="66e9cce0-e37b-4645-a907-f7690bd68dfb" providerId="ADAL" clId="{871AC57A-6E3B-4D85-BA02-8D6F5065EA89}" dt="2024-06-05T17:57:36.566" v="146"/>
          <ac:spMkLst>
            <pc:docMk/>
            <pc:sldMk cId="1903397118" sldId="5004"/>
            <ac:spMk id="215" creationId="{5D15B532-17B2-925A-0BEF-8D6F87510321}"/>
          </ac:spMkLst>
        </pc:spChg>
        <pc:spChg chg="mod">
          <ac:chgData name="Jacob, Karen (SPAC/PSPC) (elle-la / she-her)" userId="66e9cce0-e37b-4645-a907-f7690bd68dfb" providerId="ADAL" clId="{871AC57A-6E3B-4D85-BA02-8D6F5065EA89}" dt="2024-06-05T17:57:36.566" v="146"/>
          <ac:spMkLst>
            <pc:docMk/>
            <pc:sldMk cId="1903397118" sldId="5004"/>
            <ac:spMk id="216" creationId="{C697ACE2-EB21-5199-2283-B92D5A067F84}"/>
          </ac:spMkLst>
        </pc:spChg>
        <pc:spChg chg="mod">
          <ac:chgData name="Jacob, Karen (SPAC/PSPC) (elle-la / she-her)" userId="66e9cce0-e37b-4645-a907-f7690bd68dfb" providerId="ADAL" clId="{871AC57A-6E3B-4D85-BA02-8D6F5065EA89}" dt="2024-06-05T17:57:36.566" v="146"/>
          <ac:spMkLst>
            <pc:docMk/>
            <pc:sldMk cId="1903397118" sldId="5004"/>
            <ac:spMk id="217" creationId="{81EE365E-25FD-0D74-BA43-4D83913C1A16}"/>
          </ac:spMkLst>
        </pc:spChg>
        <pc:spChg chg="mod">
          <ac:chgData name="Jacob, Karen (SPAC/PSPC) (elle-la / she-her)" userId="66e9cce0-e37b-4645-a907-f7690bd68dfb" providerId="ADAL" clId="{871AC57A-6E3B-4D85-BA02-8D6F5065EA89}" dt="2024-06-05T17:57:36.566" v="146"/>
          <ac:spMkLst>
            <pc:docMk/>
            <pc:sldMk cId="1903397118" sldId="5004"/>
            <ac:spMk id="218" creationId="{338BD2A5-9923-3CDF-4A79-1457A1B8F951}"/>
          </ac:spMkLst>
        </pc:spChg>
        <pc:spChg chg="mod">
          <ac:chgData name="Jacob, Karen (SPAC/PSPC) (elle-la / she-her)" userId="66e9cce0-e37b-4645-a907-f7690bd68dfb" providerId="ADAL" clId="{871AC57A-6E3B-4D85-BA02-8D6F5065EA89}" dt="2024-06-05T17:57:36.566" v="146"/>
          <ac:spMkLst>
            <pc:docMk/>
            <pc:sldMk cId="1903397118" sldId="5004"/>
            <ac:spMk id="219" creationId="{25955621-67B4-DA55-513A-CF5F66C4BE28}"/>
          </ac:spMkLst>
        </pc:spChg>
        <pc:spChg chg="mod">
          <ac:chgData name="Jacob, Karen (SPAC/PSPC) (elle-la / she-her)" userId="66e9cce0-e37b-4645-a907-f7690bd68dfb" providerId="ADAL" clId="{871AC57A-6E3B-4D85-BA02-8D6F5065EA89}" dt="2024-06-05T17:57:36.566" v="146"/>
          <ac:spMkLst>
            <pc:docMk/>
            <pc:sldMk cId="1903397118" sldId="5004"/>
            <ac:spMk id="220" creationId="{2DDEB810-C06A-CD1C-C173-582B532813CA}"/>
          </ac:spMkLst>
        </pc:spChg>
        <pc:spChg chg="mod">
          <ac:chgData name="Jacob, Karen (SPAC/PSPC) (elle-la / she-her)" userId="66e9cce0-e37b-4645-a907-f7690bd68dfb" providerId="ADAL" clId="{871AC57A-6E3B-4D85-BA02-8D6F5065EA89}" dt="2024-06-05T17:57:36.566" v="146"/>
          <ac:spMkLst>
            <pc:docMk/>
            <pc:sldMk cId="1903397118" sldId="5004"/>
            <ac:spMk id="221" creationId="{729A8228-C4FC-FC70-0833-CB47041C66B2}"/>
          </ac:spMkLst>
        </pc:spChg>
        <pc:spChg chg="mod">
          <ac:chgData name="Jacob, Karen (SPAC/PSPC) (elle-la / she-her)" userId="66e9cce0-e37b-4645-a907-f7690bd68dfb" providerId="ADAL" clId="{871AC57A-6E3B-4D85-BA02-8D6F5065EA89}" dt="2024-06-05T17:57:36.566" v="146"/>
          <ac:spMkLst>
            <pc:docMk/>
            <pc:sldMk cId="1903397118" sldId="5004"/>
            <ac:spMk id="222" creationId="{B4900FB7-A806-3DCA-4A3F-8F5C42643C1B}"/>
          </ac:spMkLst>
        </pc:spChg>
        <pc:spChg chg="mod">
          <ac:chgData name="Jacob, Karen (SPAC/PSPC) (elle-la / she-her)" userId="66e9cce0-e37b-4645-a907-f7690bd68dfb" providerId="ADAL" clId="{871AC57A-6E3B-4D85-BA02-8D6F5065EA89}" dt="2024-06-05T17:57:36.566" v="146"/>
          <ac:spMkLst>
            <pc:docMk/>
            <pc:sldMk cId="1903397118" sldId="5004"/>
            <ac:spMk id="223" creationId="{84E0FCE5-8C2B-11FE-8F6F-EEADAA49FDC7}"/>
          </ac:spMkLst>
        </pc:spChg>
        <pc:spChg chg="mod">
          <ac:chgData name="Jacob, Karen (SPAC/PSPC) (elle-la / she-her)" userId="66e9cce0-e37b-4645-a907-f7690bd68dfb" providerId="ADAL" clId="{871AC57A-6E3B-4D85-BA02-8D6F5065EA89}" dt="2024-06-05T17:57:36.566" v="146"/>
          <ac:spMkLst>
            <pc:docMk/>
            <pc:sldMk cId="1903397118" sldId="5004"/>
            <ac:spMk id="224" creationId="{3D0585BB-4507-23AD-DCFD-7A392400407E}"/>
          </ac:spMkLst>
        </pc:spChg>
        <pc:spChg chg="mod">
          <ac:chgData name="Jacob, Karen (SPAC/PSPC) (elle-la / she-her)" userId="66e9cce0-e37b-4645-a907-f7690bd68dfb" providerId="ADAL" clId="{871AC57A-6E3B-4D85-BA02-8D6F5065EA89}" dt="2024-06-05T17:57:36.566" v="146"/>
          <ac:spMkLst>
            <pc:docMk/>
            <pc:sldMk cId="1903397118" sldId="5004"/>
            <ac:spMk id="225" creationId="{9054FA7E-0E64-F5B3-976D-C007EC1A33DC}"/>
          </ac:spMkLst>
        </pc:spChg>
        <pc:spChg chg="mod">
          <ac:chgData name="Jacob, Karen (SPAC/PSPC) (elle-la / she-her)" userId="66e9cce0-e37b-4645-a907-f7690bd68dfb" providerId="ADAL" clId="{871AC57A-6E3B-4D85-BA02-8D6F5065EA89}" dt="2024-06-05T17:57:36.566" v="146"/>
          <ac:spMkLst>
            <pc:docMk/>
            <pc:sldMk cId="1903397118" sldId="5004"/>
            <ac:spMk id="226" creationId="{253B7713-F553-BB74-85AD-CF8F156ED88F}"/>
          </ac:spMkLst>
        </pc:spChg>
        <pc:spChg chg="mod">
          <ac:chgData name="Jacob, Karen (SPAC/PSPC) (elle-la / she-her)" userId="66e9cce0-e37b-4645-a907-f7690bd68dfb" providerId="ADAL" clId="{871AC57A-6E3B-4D85-BA02-8D6F5065EA89}" dt="2024-06-05T17:57:36.566" v="146"/>
          <ac:spMkLst>
            <pc:docMk/>
            <pc:sldMk cId="1903397118" sldId="5004"/>
            <ac:spMk id="227" creationId="{6592E00A-B9C0-A16D-C1FF-C9F648DD632C}"/>
          </ac:spMkLst>
        </pc:spChg>
        <pc:spChg chg="mod">
          <ac:chgData name="Jacob, Karen (SPAC/PSPC) (elle-la / she-her)" userId="66e9cce0-e37b-4645-a907-f7690bd68dfb" providerId="ADAL" clId="{871AC57A-6E3B-4D85-BA02-8D6F5065EA89}" dt="2024-06-05T17:57:36.566" v="146"/>
          <ac:spMkLst>
            <pc:docMk/>
            <pc:sldMk cId="1903397118" sldId="5004"/>
            <ac:spMk id="228" creationId="{F72913B9-01CC-302A-C4F2-673178CB87BC}"/>
          </ac:spMkLst>
        </pc:spChg>
        <pc:spChg chg="mod">
          <ac:chgData name="Jacob, Karen (SPAC/PSPC) (elle-la / she-her)" userId="66e9cce0-e37b-4645-a907-f7690bd68dfb" providerId="ADAL" clId="{871AC57A-6E3B-4D85-BA02-8D6F5065EA89}" dt="2024-06-05T17:57:36.566" v="146"/>
          <ac:spMkLst>
            <pc:docMk/>
            <pc:sldMk cId="1903397118" sldId="5004"/>
            <ac:spMk id="229" creationId="{BA561EA7-EFEE-46B6-6EC6-5D8173A65A10}"/>
          </ac:spMkLst>
        </pc:spChg>
        <pc:spChg chg="mod">
          <ac:chgData name="Jacob, Karen (SPAC/PSPC) (elle-la / she-her)" userId="66e9cce0-e37b-4645-a907-f7690bd68dfb" providerId="ADAL" clId="{871AC57A-6E3B-4D85-BA02-8D6F5065EA89}" dt="2024-06-05T17:57:36.566" v="146"/>
          <ac:spMkLst>
            <pc:docMk/>
            <pc:sldMk cId="1903397118" sldId="5004"/>
            <ac:spMk id="231" creationId="{46886C11-D078-2740-7191-0CC49110ACD7}"/>
          </ac:spMkLst>
        </pc:spChg>
        <pc:spChg chg="mod">
          <ac:chgData name="Jacob, Karen (SPAC/PSPC) (elle-la / she-her)" userId="66e9cce0-e37b-4645-a907-f7690bd68dfb" providerId="ADAL" clId="{871AC57A-6E3B-4D85-BA02-8D6F5065EA89}" dt="2024-06-05T17:57:36.566" v="146"/>
          <ac:spMkLst>
            <pc:docMk/>
            <pc:sldMk cId="1903397118" sldId="5004"/>
            <ac:spMk id="233" creationId="{998A78C6-3390-5690-5D0D-AC82154497BC}"/>
          </ac:spMkLst>
        </pc:spChg>
        <pc:spChg chg="mod">
          <ac:chgData name="Jacob, Karen (SPAC/PSPC) (elle-la / she-her)" userId="66e9cce0-e37b-4645-a907-f7690bd68dfb" providerId="ADAL" clId="{871AC57A-6E3B-4D85-BA02-8D6F5065EA89}" dt="2024-06-05T17:57:36.566" v="146"/>
          <ac:spMkLst>
            <pc:docMk/>
            <pc:sldMk cId="1903397118" sldId="5004"/>
            <ac:spMk id="234" creationId="{D8FDB64A-4005-A7DB-0A45-99B3EBCE29A3}"/>
          </ac:spMkLst>
        </pc:spChg>
        <pc:spChg chg="mod">
          <ac:chgData name="Jacob, Karen (SPAC/PSPC) (elle-la / she-her)" userId="66e9cce0-e37b-4645-a907-f7690bd68dfb" providerId="ADAL" clId="{871AC57A-6E3B-4D85-BA02-8D6F5065EA89}" dt="2024-06-05T17:57:36.566" v="146"/>
          <ac:spMkLst>
            <pc:docMk/>
            <pc:sldMk cId="1903397118" sldId="5004"/>
            <ac:spMk id="235" creationId="{A9D009A7-BC0E-2CC0-EF5E-9055E611F07B}"/>
          </ac:spMkLst>
        </pc:spChg>
        <pc:spChg chg="mod">
          <ac:chgData name="Jacob, Karen (SPAC/PSPC) (elle-la / she-her)" userId="66e9cce0-e37b-4645-a907-f7690bd68dfb" providerId="ADAL" clId="{871AC57A-6E3B-4D85-BA02-8D6F5065EA89}" dt="2024-06-05T17:57:36.566" v="146"/>
          <ac:spMkLst>
            <pc:docMk/>
            <pc:sldMk cId="1903397118" sldId="5004"/>
            <ac:spMk id="236" creationId="{F54824DC-D23C-9F60-6AD7-CF596193C069}"/>
          </ac:spMkLst>
        </pc:spChg>
        <pc:spChg chg="mod">
          <ac:chgData name="Jacob, Karen (SPAC/PSPC) (elle-la / she-her)" userId="66e9cce0-e37b-4645-a907-f7690bd68dfb" providerId="ADAL" clId="{871AC57A-6E3B-4D85-BA02-8D6F5065EA89}" dt="2024-06-05T17:57:36.566" v="146"/>
          <ac:spMkLst>
            <pc:docMk/>
            <pc:sldMk cId="1903397118" sldId="5004"/>
            <ac:spMk id="237" creationId="{7105EC09-3E8C-D532-B527-0B3B5CB91BDC}"/>
          </ac:spMkLst>
        </pc:spChg>
        <pc:spChg chg="mod">
          <ac:chgData name="Jacob, Karen (SPAC/PSPC) (elle-la / she-her)" userId="66e9cce0-e37b-4645-a907-f7690bd68dfb" providerId="ADAL" clId="{871AC57A-6E3B-4D85-BA02-8D6F5065EA89}" dt="2024-06-05T17:57:36.566" v="146"/>
          <ac:spMkLst>
            <pc:docMk/>
            <pc:sldMk cId="1903397118" sldId="5004"/>
            <ac:spMk id="238" creationId="{EE6F7566-9821-FB79-7642-A1B0946082F3}"/>
          </ac:spMkLst>
        </pc:spChg>
        <pc:spChg chg="mod">
          <ac:chgData name="Jacob, Karen (SPAC/PSPC) (elle-la / she-her)" userId="66e9cce0-e37b-4645-a907-f7690bd68dfb" providerId="ADAL" clId="{871AC57A-6E3B-4D85-BA02-8D6F5065EA89}" dt="2024-06-05T17:57:36.566" v="146"/>
          <ac:spMkLst>
            <pc:docMk/>
            <pc:sldMk cId="1903397118" sldId="5004"/>
            <ac:spMk id="239" creationId="{6B985762-DA35-86C8-7537-FD718A242BF2}"/>
          </ac:spMkLst>
        </pc:spChg>
        <pc:spChg chg="mod">
          <ac:chgData name="Jacob, Karen (SPAC/PSPC) (elle-la / she-her)" userId="66e9cce0-e37b-4645-a907-f7690bd68dfb" providerId="ADAL" clId="{871AC57A-6E3B-4D85-BA02-8D6F5065EA89}" dt="2024-06-05T17:57:36.566" v="146"/>
          <ac:spMkLst>
            <pc:docMk/>
            <pc:sldMk cId="1903397118" sldId="5004"/>
            <ac:spMk id="240" creationId="{345CF1A9-E083-82B4-3321-380A30B138AB}"/>
          </ac:spMkLst>
        </pc:spChg>
        <pc:spChg chg="mod">
          <ac:chgData name="Jacob, Karen (SPAC/PSPC) (elle-la / she-her)" userId="66e9cce0-e37b-4645-a907-f7690bd68dfb" providerId="ADAL" clId="{871AC57A-6E3B-4D85-BA02-8D6F5065EA89}" dt="2024-06-05T17:57:36.566" v="146"/>
          <ac:spMkLst>
            <pc:docMk/>
            <pc:sldMk cId="1903397118" sldId="5004"/>
            <ac:spMk id="241" creationId="{E5C18C4F-BBA3-891A-C4B5-2D54F2EB5E6B}"/>
          </ac:spMkLst>
        </pc:spChg>
        <pc:spChg chg="mod">
          <ac:chgData name="Jacob, Karen (SPAC/PSPC) (elle-la / she-her)" userId="66e9cce0-e37b-4645-a907-f7690bd68dfb" providerId="ADAL" clId="{871AC57A-6E3B-4D85-BA02-8D6F5065EA89}" dt="2024-06-05T17:57:36.566" v="146"/>
          <ac:spMkLst>
            <pc:docMk/>
            <pc:sldMk cId="1903397118" sldId="5004"/>
            <ac:spMk id="242" creationId="{9E6F6CBD-BF5B-2115-BD8E-8C5D4EF2B464}"/>
          </ac:spMkLst>
        </pc:spChg>
        <pc:spChg chg="mod">
          <ac:chgData name="Jacob, Karen (SPAC/PSPC) (elle-la / she-her)" userId="66e9cce0-e37b-4645-a907-f7690bd68dfb" providerId="ADAL" clId="{871AC57A-6E3B-4D85-BA02-8D6F5065EA89}" dt="2024-06-05T17:57:36.566" v="146"/>
          <ac:spMkLst>
            <pc:docMk/>
            <pc:sldMk cId="1903397118" sldId="5004"/>
            <ac:spMk id="243" creationId="{08052811-0262-CDCA-6140-29646A5B42EF}"/>
          </ac:spMkLst>
        </pc:spChg>
        <pc:spChg chg="mod">
          <ac:chgData name="Jacob, Karen (SPAC/PSPC) (elle-la / she-her)" userId="66e9cce0-e37b-4645-a907-f7690bd68dfb" providerId="ADAL" clId="{871AC57A-6E3B-4D85-BA02-8D6F5065EA89}" dt="2024-06-05T17:57:36.566" v="146"/>
          <ac:spMkLst>
            <pc:docMk/>
            <pc:sldMk cId="1903397118" sldId="5004"/>
            <ac:spMk id="244" creationId="{4148BCA5-A63E-4B70-931A-AE84E9890A4C}"/>
          </ac:spMkLst>
        </pc:spChg>
        <pc:spChg chg="mod">
          <ac:chgData name="Jacob, Karen (SPAC/PSPC) (elle-la / she-her)" userId="66e9cce0-e37b-4645-a907-f7690bd68dfb" providerId="ADAL" clId="{871AC57A-6E3B-4D85-BA02-8D6F5065EA89}" dt="2024-06-05T17:57:36.566" v="146"/>
          <ac:spMkLst>
            <pc:docMk/>
            <pc:sldMk cId="1903397118" sldId="5004"/>
            <ac:spMk id="245" creationId="{0D5AAF7B-4382-1492-E65C-E5A1F89E6143}"/>
          </ac:spMkLst>
        </pc:spChg>
        <pc:spChg chg="mod">
          <ac:chgData name="Jacob, Karen (SPAC/PSPC) (elle-la / she-her)" userId="66e9cce0-e37b-4645-a907-f7690bd68dfb" providerId="ADAL" clId="{871AC57A-6E3B-4D85-BA02-8D6F5065EA89}" dt="2024-06-05T17:57:36.566" v="146"/>
          <ac:spMkLst>
            <pc:docMk/>
            <pc:sldMk cId="1903397118" sldId="5004"/>
            <ac:spMk id="246" creationId="{DDC153DC-B407-5EDE-E1EF-A6B68540B529}"/>
          </ac:spMkLst>
        </pc:spChg>
        <pc:spChg chg="mod">
          <ac:chgData name="Jacob, Karen (SPAC/PSPC) (elle-la / she-her)" userId="66e9cce0-e37b-4645-a907-f7690bd68dfb" providerId="ADAL" clId="{871AC57A-6E3B-4D85-BA02-8D6F5065EA89}" dt="2024-06-05T17:57:36.566" v="146"/>
          <ac:spMkLst>
            <pc:docMk/>
            <pc:sldMk cId="1903397118" sldId="5004"/>
            <ac:spMk id="247" creationId="{D0475F2F-4DBB-00E0-84AE-83184F2CC953}"/>
          </ac:spMkLst>
        </pc:spChg>
        <pc:spChg chg="mod">
          <ac:chgData name="Jacob, Karen (SPAC/PSPC) (elle-la / she-her)" userId="66e9cce0-e37b-4645-a907-f7690bd68dfb" providerId="ADAL" clId="{871AC57A-6E3B-4D85-BA02-8D6F5065EA89}" dt="2024-06-05T17:57:36.566" v="146"/>
          <ac:spMkLst>
            <pc:docMk/>
            <pc:sldMk cId="1903397118" sldId="5004"/>
            <ac:spMk id="248" creationId="{A9A4933E-C714-51C6-6D2A-AA2F8050A283}"/>
          </ac:spMkLst>
        </pc:spChg>
        <pc:spChg chg="mod">
          <ac:chgData name="Jacob, Karen (SPAC/PSPC) (elle-la / she-her)" userId="66e9cce0-e37b-4645-a907-f7690bd68dfb" providerId="ADAL" clId="{871AC57A-6E3B-4D85-BA02-8D6F5065EA89}" dt="2024-06-05T17:57:36.566" v="146"/>
          <ac:spMkLst>
            <pc:docMk/>
            <pc:sldMk cId="1903397118" sldId="5004"/>
            <ac:spMk id="249" creationId="{D39055DD-A693-7E8E-59F8-42D1B3D9A4C6}"/>
          </ac:spMkLst>
        </pc:spChg>
        <pc:spChg chg="mod">
          <ac:chgData name="Jacob, Karen (SPAC/PSPC) (elle-la / she-her)" userId="66e9cce0-e37b-4645-a907-f7690bd68dfb" providerId="ADAL" clId="{871AC57A-6E3B-4D85-BA02-8D6F5065EA89}" dt="2024-06-05T17:57:36.566" v="146"/>
          <ac:spMkLst>
            <pc:docMk/>
            <pc:sldMk cId="1903397118" sldId="5004"/>
            <ac:spMk id="250" creationId="{C14ABFC3-A737-25F1-5FF8-EF2EDB4FC181}"/>
          </ac:spMkLst>
        </pc:spChg>
        <pc:spChg chg="mod">
          <ac:chgData name="Jacob, Karen (SPAC/PSPC) (elle-la / she-her)" userId="66e9cce0-e37b-4645-a907-f7690bd68dfb" providerId="ADAL" clId="{871AC57A-6E3B-4D85-BA02-8D6F5065EA89}" dt="2024-06-05T17:57:36.566" v="146"/>
          <ac:spMkLst>
            <pc:docMk/>
            <pc:sldMk cId="1903397118" sldId="5004"/>
            <ac:spMk id="251" creationId="{522FBB9E-9B4C-2FFF-208A-183C1A946DC4}"/>
          </ac:spMkLst>
        </pc:spChg>
        <pc:spChg chg="mod">
          <ac:chgData name="Jacob, Karen (SPAC/PSPC) (elle-la / she-her)" userId="66e9cce0-e37b-4645-a907-f7690bd68dfb" providerId="ADAL" clId="{871AC57A-6E3B-4D85-BA02-8D6F5065EA89}" dt="2024-06-05T17:57:36.566" v="146"/>
          <ac:spMkLst>
            <pc:docMk/>
            <pc:sldMk cId="1903397118" sldId="5004"/>
            <ac:spMk id="252" creationId="{389EBAF4-287E-DFBB-5EE3-1609809C44D6}"/>
          </ac:spMkLst>
        </pc:spChg>
        <pc:spChg chg="mod">
          <ac:chgData name="Jacob, Karen (SPAC/PSPC) (elle-la / she-her)" userId="66e9cce0-e37b-4645-a907-f7690bd68dfb" providerId="ADAL" clId="{871AC57A-6E3B-4D85-BA02-8D6F5065EA89}" dt="2024-06-05T17:57:36.566" v="146"/>
          <ac:spMkLst>
            <pc:docMk/>
            <pc:sldMk cId="1903397118" sldId="5004"/>
            <ac:spMk id="253" creationId="{A9BE5517-497D-5A2E-EF37-E220B4FB1D4F}"/>
          </ac:spMkLst>
        </pc:spChg>
        <pc:spChg chg="mod">
          <ac:chgData name="Jacob, Karen (SPAC/PSPC) (elle-la / she-her)" userId="66e9cce0-e37b-4645-a907-f7690bd68dfb" providerId="ADAL" clId="{871AC57A-6E3B-4D85-BA02-8D6F5065EA89}" dt="2024-06-05T17:57:36.566" v="146"/>
          <ac:spMkLst>
            <pc:docMk/>
            <pc:sldMk cId="1903397118" sldId="5004"/>
            <ac:spMk id="254" creationId="{B6B4FAE0-D41B-022F-AFFE-51AE758A0452}"/>
          </ac:spMkLst>
        </pc:spChg>
        <pc:spChg chg="mod">
          <ac:chgData name="Jacob, Karen (SPAC/PSPC) (elle-la / she-her)" userId="66e9cce0-e37b-4645-a907-f7690bd68dfb" providerId="ADAL" clId="{871AC57A-6E3B-4D85-BA02-8D6F5065EA89}" dt="2024-06-05T17:57:36.566" v="146"/>
          <ac:spMkLst>
            <pc:docMk/>
            <pc:sldMk cId="1903397118" sldId="5004"/>
            <ac:spMk id="255" creationId="{D08A1857-84F4-044D-8CAE-F94624A327E0}"/>
          </ac:spMkLst>
        </pc:spChg>
        <pc:spChg chg="mod">
          <ac:chgData name="Jacob, Karen (SPAC/PSPC) (elle-la / she-her)" userId="66e9cce0-e37b-4645-a907-f7690bd68dfb" providerId="ADAL" clId="{871AC57A-6E3B-4D85-BA02-8D6F5065EA89}" dt="2024-06-05T17:57:36.566" v="146"/>
          <ac:spMkLst>
            <pc:docMk/>
            <pc:sldMk cId="1903397118" sldId="5004"/>
            <ac:spMk id="256" creationId="{A0812634-E264-70EB-B2DC-4F2C54419E1A}"/>
          </ac:spMkLst>
        </pc:spChg>
        <pc:spChg chg="mod">
          <ac:chgData name="Jacob, Karen (SPAC/PSPC) (elle-la / she-her)" userId="66e9cce0-e37b-4645-a907-f7690bd68dfb" providerId="ADAL" clId="{871AC57A-6E3B-4D85-BA02-8D6F5065EA89}" dt="2024-06-05T17:57:36.566" v="146"/>
          <ac:spMkLst>
            <pc:docMk/>
            <pc:sldMk cId="1903397118" sldId="5004"/>
            <ac:spMk id="257" creationId="{8159A2C1-ED75-662B-1FD7-52410B173F67}"/>
          </ac:spMkLst>
        </pc:spChg>
        <pc:spChg chg="mod">
          <ac:chgData name="Jacob, Karen (SPAC/PSPC) (elle-la / she-her)" userId="66e9cce0-e37b-4645-a907-f7690bd68dfb" providerId="ADAL" clId="{871AC57A-6E3B-4D85-BA02-8D6F5065EA89}" dt="2024-06-05T17:57:36.566" v="146"/>
          <ac:spMkLst>
            <pc:docMk/>
            <pc:sldMk cId="1903397118" sldId="5004"/>
            <ac:spMk id="258" creationId="{8266099A-6399-10FE-1431-AC74E58B56F8}"/>
          </ac:spMkLst>
        </pc:spChg>
        <pc:spChg chg="mod">
          <ac:chgData name="Jacob, Karen (SPAC/PSPC) (elle-la / she-her)" userId="66e9cce0-e37b-4645-a907-f7690bd68dfb" providerId="ADAL" clId="{871AC57A-6E3B-4D85-BA02-8D6F5065EA89}" dt="2024-06-05T17:57:36.566" v="146"/>
          <ac:spMkLst>
            <pc:docMk/>
            <pc:sldMk cId="1903397118" sldId="5004"/>
            <ac:spMk id="259" creationId="{B475523B-B94F-E555-4EB6-169AB6AE6536}"/>
          </ac:spMkLst>
        </pc:spChg>
        <pc:spChg chg="mod">
          <ac:chgData name="Jacob, Karen (SPAC/PSPC) (elle-la / she-her)" userId="66e9cce0-e37b-4645-a907-f7690bd68dfb" providerId="ADAL" clId="{871AC57A-6E3B-4D85-BA02-8D6F5065EA89}" dt="2024-06-05T17:57:36.566" v="146"/>
          <ac:spMkLst>
            <pc:docMk/>
            <pc:sldMk cId="1903397118" sldId="5004"/>
            <ac:spMk id="260" creationId="{1E0E5E8A-CDCF-2936-E342-7DA4E394C28E}"/>
          </ac:spMkLst>
        </pc:spChg>
        <pc:spChg chg="mod">
          <ac:chgData name="Jacob, Karen (SPAC/PSPC) (elle-la / she-her)" userId="66e9cce0-e37b-4645-a907-f7690bd68dfb" providerId="ADAL" clId="{871AC57A-6E3B-4D85-BA02-8D6F5065EA89}" dt="2024-06-05T17:57:36.566" v="146"/>
          <ac:spMkLst>
            <pc:docMk/>
            <pc:sldMk cId="1903397118" sldId="5004"/>
            <ac:spMk id="261" creationId="{66ACB141-4C47-B077-7C5E-0CE50B1147F6}"/>
          </ac:spMkLst>
        </pc:spChg>
        <pc:spChg chg="mod">
          <ac:chgData name="Jacob, Karen (SPAC/PSPC) (elle-la / she-her)" userId="66e9cce0-e37b-4645-a907-f7690bd68dfb" providerId="ADAL" clId="{871AC57A-6E3B-4D85-BA02-8D6F5065EA89}" dt="2024-06-05T17:57:36.566" v="146"/>
          <ac:spMkLst>
            <pc:docMk/>
            <pc:sldMk cId="1903397118" sldId="5004"/>
            <ac:spMk id="262" creationId="{D6B8952A-1B6F-0E44-0034-C6843E671B03}"/>
          </ac:spMkLst>
        </pc:spChg>
        <pc:spChg chg="mod">
          <ac:chgData name="Jacob, Karen (SPAC/PSPC) (elle-la / she-her)" userId="66e9cce0-e37b-4645-a907-f7690bd68dfb" providerId="ADAL" clId="{871AC57A-6E3B-4D85-BA02-8D6F5065EA89}" dt="2024-06-05T17:57:36.566" v="146"/>
          <ac:spMkLst>
            <pc:docMk/>
            <pc:sldMk cId="1903397118" sldId="5004"/>
            <ac:spMk id="263" creationId="{E657A509-8AE2-43E3-00E6-23E1DF4C0327}"/>
          </ac:spMkLst>
        </pc:spChg>
        <pc:spChg chg="mod">
          <ac:chgData name="Jacob, Karen (SPAC/PSPC) (elle-la / she-her)" userId="66e9cce0-e37b-4645-a907-f7690bd68dfb" providerId="ADAL" clId="{871AC57A-6E3B-4D85-BA02-8D6F5065EA89}" dt="2024-06-05T17:57:36.566" v="146"/>
          <ac:spMkLst>
            <pc:docMk/>
            <pc:sldMk cId="1903397118" sldId="5004"/>
            <ac:spMk id="264" creationId="{362FE975-FA86-2D2D-4B03-A5DDC6CB655A}"/>
          </ac:spMkLst>
        </pc:spChg>
        <pc:spChg chg="mod">
          <ac:chgData name="Jacob, Karen (SPAC/PSPC) (elle-la / she-her)" userId="66e9cce0-e37b-4645-a907-f7690bd68dfb" providerId="ADAL" clId="{871AC57A-6E3B-4D85-BA02-8D6F5065EA89}" dt="2024-06-05T17:57:36.566" v="146"/>
          <ac:spMkLst>
            <pc:docMk/>
            <pc:sldMk cId="1903397118" sldId="5004"/>
            <ac:spMk id="265" creationId="{0A0D8114-F1FF-AEF5-B03A-C1BDBD46FF4A}"/>
          </ac:spMkLst>
        </pc:spChg>
        <pc:spChg chg="mod">
          <ac:chgData name="Jacob, Karen (SPAC/PSPC) (elle-la / she-her)" userId="66e9cce0-e37b-4645-a907-f7690bd68dfb" providerId="ADAL" clId="{871AC57A-6E3B-4D85-BA02-8D6F5065EA89}" dt="2024-06-05T17:57:36.566" v="146"/>
          <ac:spMkLst>
            <pc:docMk/>
            <pc:sldMk cId="1903397118" sldId="5004"/>
            <ac:spMk id="266" creationId="{A3762BDC-D20E-2D29-80A4-792CE492D590}"/>
          </ac:spMkLst>
        </pc:spChg>
        <pc:spChg chg="mod">
          <ac:chgData name="Jacob, Karen (SPAC/PSPC) (elle-la / she-her)" userId="66e9cce0-e37b-4645-a907-f7690bd68dfb" providerId="ADAL" clId="{871AC57A-6E3B-4D85-BA02-8D6F5065EA89}" dt="2024-06-05T17:57:36.566" v="146"/>
          <ac:spMkLst>
            <pc:docMk/>
            <pc:sldMk cId="1903397118" sldId="5004"/>
            <ac:spMk id="267" creationId="{B22DB67D-32A0-74C2-639F-89BCA54367E0}"/>
          </ac:spMkLst>
        </pc:spChg>
        <pc:spChg chg="mod">
          <ac:chgData name="Jacob, Karen (SPAC/PSPC) (elle-la / she-her)" userId="66e9cce0-e37b-4645-a907-f7690bd68dfb" providerId="ADAL" clId="{871AC57A-6E3B-4D85-BA02-8D6F5065EA89}" dt="2024-06-05T17:57:36.566" v="146"/>
          <ac:spMkLst>
            <pc:docMk/>
            <pc:sldMk cId="1903397118" sldId="5004"/>
            <ac:spMk id="268" creationId="{3A6857F0-6FA2-F838-08E3-E82809FC933E}"/>
          </ac:spMkLst>
        </pc:spChg>
        <pc:spChg chg="mod">
          <ac:chgData name="Jacob, Karen (SPAC/PSPC) (elle-la / she-her)" userId="66e9cce0-e37b-4645-a907-f7690bd68dfb" providerId="ADAL" clId="{871AC57A-6E3B-4D85-BA02-8D6F5065EA89}" dt="2024-06-05T17:57:36.566" v="146"/>
          <ac:spMkLst>
            <pc:docMk/>
            <pc:sldMk cId="1903397118" sldId="5004"/>
            <ac:spMk id="269" creationId="{DA852FCA-5291-F473-7B85-CD6174E96D1E}"/>
          </ac:spMkLst>
        </pc:spChg>
        <pc:spChg chg="mod">
          <ac:chgData name="Jacob, Karen (SPAC/PSPC) (elle-la / she-her)" userId="66e9cce0-e37b-4645-a907-f7690bd68dfb" providerId="ADAL" clId="{871AC57A-6E3B-4D85-BA02-8D6F5065EA89}" dt="2024-06-05T17:57:36.566" v="146"/>
          <ac:spMkLst>
            <pc:docMk/>
            <pc:sldMk cId="1903397118" sldId="5004"/>
            <ac:spMk id="270" creationId="{56DB2B05-ECBF-EBDD-712D-A43991E7CA16}"/>
          </ac:spMkLst>
        </pc:spChg>
        <pc:spChg chg="mod">
          <ac:chgData name="Jacob, Karen (SPAC/PSPC) (elle-la / she-her)" userId="66e9cce0-e37b-4645-a907-f7690bd68dfb" providerId="ADAL" clId="{871AC57A-6E3B-4D85-BA02-8D6F5065EA89}" dt="2024-06-05T17:57:36.566" v="146"/>
          <ac:spMkLst>
            <pc:docMk/>
            <pc:sldMk cId="1903397118" sldId="5004"/>
            <ac:spMk id="271" creationId="{B1C75131-42CA-BFEC-DA85-65E3CF9A95EF}"/>
          </ac:spMkLst>
        </pc:spChg>
        <pc:spChg chg="mod">
          <ac:chgData name="Jacob, Karen (SPAC/PSPC) (elle-la / she-her)" userId="66e9cce0-e37b-4645-a907-f7690bd68dfb" providerId="ADAL" clId="{871AC57A-6E3B-4D85-BA02-8D6F5065EA89}" dt="2024-06-05T17:57:36.566" v="146"/>
          <ac:spMkLst>
            <pc:docMk/>
            <pc:sldMk cId="1903397118" sldId="5004"/>
            <ac:spMk id="272" creationId="{FDDE0573-0179-BA50-2116-F0523FF230E9}"/>
          </ac:spMkLst>
        </pc:spChg>
        <pc:spChg chg="mod">
          <ac:chgData name="Jacob, Karen (SPAC/PSPC) (elle-la / she-her)" userId="66e9cce0-e37b-4645-a907-f7690bd68dfb" providerId="ADAL" clId="{871AC57A-6E3B-4D85-BA02-8D6F5065EA89}" dt="2024-06-05T17:57:36.566" v="146"/>
          <ac:spMkLst>
            <pc:docMk/>
            <pc:sldMk cId="1903397118" sldId="5004"/>
            <ac:spMk id="273" creationId="{C3B10571-F8C9-F123-21CE-5AFBA152579C}"/>
          </ac:spMkLst>
        </pc:spChg>
        <pc:spChg chg="mod">
          <ac:chgData name="Jacob, Karen (SPAC/PSPC) (elle-la / she-her)" userId="66e9cce0-e37b-4645-a907-f7690bd68dfb" providerId="ADAL" clId="{871AC57A-6E3B-4D85-BA02-8D6F5065EA89}" dt="2024-06-05T17:57:36.566" v="146"/>
          <ac:spMkLst>
            <pc:docMk/>
            <pc:sldMk cId="1903397118" sldId="5004"/>
            <ac:spMk id="275" creationId="{CFA7901C-E192-10B9-C980-C98D47C66704}"/>
          </ac:spMkLst>
        </pc:spChg>
        <pc:spChg chg="mod">
          <ac:chgData name="Jacob, Karen (SPAC/PSPC) (elle-la / she-her)" userId="66e9cce0-e37b-4645-a907-f7690bd68dfb" providerId="ADAL" clId="{871AC57A-6E3B-4D85-BA02-8D6F5065EA89}" dt="2024-06-05T17:57:36.566" v="146"/>
          <ac:spMkLst>
            <pc:docMk/>
            <pc:sldMk cId="1903397118" sldId="5004"/>
            <ac:spMk id="277" creationId="{1DC25891-A551-6759-6814-793854881FEA}"/>
          </ac:spMkLst>
        </pc:spChg>
        <pc:spChg chg="mod">
          <ac:chgData name="Jacob, Karen (SPAC/PSPC) (elle-la / she-her)" userId="66e9cce0-e37b-4645-a907-f7690bd68dfb" providerId="ADAL" clId="{871AC57A-6E3B-4D85-BA02-8D6F5065EA89}" dt="2024-06-05T17:57:36.566" v="146"/>
          <ac:spMkLst>
            <pc:docMk/>
            <pc:sldMk cId="1903397118" sldId="5004"/>
            <ac:spMk id="278" creationId="{A5FB845A-A468-D4EA-279D-3B343704B048}"/>
          </ac:spMkLst>
        </pc:spChg>
        <pc:spChg chg="mod">
          <ac:chgData name="Jacob, Karen (SPAC/PSPC) (elle-la / she-her)" userId="66e9cce0-e37b-4645-a907-f7690bd68dfb" providerId="ADAL" clId="{871AC57A-6E3B-4D85-BA02-8D6F5065EA89}" dt="2024-06-05T17:57:36.566" v="146"/>
          <ac:spMkLst>
            <pc:docMk/>
            <pc:sldMk cId="1903397118" sldId="5004"/>
            <ac:spMk id="279" creationId="{AE5061A4-B73D-15CA-5B3C-FB37E7E2B2F5}"/>
          </ac:spMkLst>
        </pc:spChg>
        <pc:spChg chg="mod">
          <ac:chgData name="Jacob, Karen (SPAC/PSPC) (elle-la / she-her)" userId="66e9cce0-e37b-4645-a907-f7690bd68dfb" providerId="ADAL" clId="{871AC57A-6E3B-4D85-BA02-8D6F5065EA89}" dt="2024-06-05T17:57:36.566" v="146"/>
          <ac:spMkLst>
            <pc:docMk/>
            <pc:sldMk cId="1903397118" sldId="5004"/>
            <ac:spMk id="280" creationId="{C55CD1B8-FBC0-DCF1-D863-B76D2EA4E4CD}"/>
          </ac:spMkLst>
        </pc:spChg>
        <pc:spChg chg="mod">
          <ac:chgData name="Jacob, Karen (SPAC/PSPC) (elle-la / she-her)" userId="66e9cce0-e37b-4645-a907-f7690bd68dfb" providerId="ADAL" clId="{871AC57A-6E3B-4D85-BA02-8D6F5065EA89}" dt="2024-06-05T17:57:36.566" v="146"/>
          <ac:spMkLst>
            <pc:docMk/>
            <pc:sldMk cId="1903397118" sldId="5004"/>
            <ac:spMk id="281" creationId="{ACC63CB5-97FD-C363-B49A-EBE7760BE2DD}"/>
          </ac:spMkLst>
        </pc:spChg>
        <pc:spChg chg="mod">
          <ac:chgData name="Jacob, Karen (SPAC/PSPC) (elle-la / she-her)" userId="66e9cce0-e37b-4645-a907-f7690bd68dfb" providerId="ADAL" clId="{871AC57A-6E3B-4D85-BA02-8D6F5065EA89}" dt="2024-06-05T17:57:36.566" v="146"/>
          <ac:spMkLst>
            <pc:docMk/>
            <pc:sldMk cId="1903397118" sldId="5004"/>
            <ac:spMk id="282" creationId="{1BE764D9-A606-2C88-EABF-4C8E9FD40E9E}"/>
          </ac:spMkLst>
        </pc:spChg>
        <pc:spChg chg="mod">
          <ac:chgData name="Jacob, Karen (SPAC/PSPC) (elle-la / she-her)" userId="66e9cce0-e37b-4645-a907-f7690bd68dfb" providerId="ADAL" clId="{871AC57A-6E3B-4D85-BA02-8D6F5065EA89}" dt="2024-06-05T17:57:36.566" v="146"/>
          <ac:spMkLst>
            <pc:docMk/>
            <pc:sldMk cId="1903397118" sldId="5004"/>
            <ac:spMk id="283" creationId="{DD44E0F5-1D3A-2B25-5E5D-470B74E88D2E}"/>
          </ac:spMkLst>
        </pc:spChg>
        <pc:spChg chg="mod">
          <ac:chgData name="Jacob, Karen (SPAC/PSPC) (elle-la / she-her)" userId="66e9cce0-e37b-4645-a907-f7690bd68dfb" providerId="ADAL" clId="{871AC57A-6E3B-4D85-BA02-8D6F5065EA89}" dt="2024-06-05T17:57:36.566" v="146"/>
          <ac:spMkLst>
            <pc:docMk/>
            <pc:sldMk cId="1903397118" sldId="5004"/>
            <ac:spMk id="284" creationId="{BDA12963-1507-4445-91A9-93903E659C52}"/>
          </ac:spMkLst>
        </pc:spChg>
        <pc:spChg chg="mod">
          <ac:chgData name="Jacob, Karen (SPAC/PSPC) (elle-la / she-her)" userId="66e9cce0-e37b-4645-a907-f7690bd68dfb" providerId="ADAL" clId="{871AC57A-6E3B-4D85-BA02-8D6F5065EA89}" dt="2024-06-05T17:57:36.566" v="146"/>
          <ac:spMkLst>
            <pc:docMk/>
            <pc:sldMk cId="1903397118" sldId="5004"/>
            <ac:spMk id="285" creationId="{04F7C5BE-B5A8-BBB9-4238-FE33544A8359}"/>
          </ac:spMkLst>
        </pc:spChg>
        <pc:spChg chg="mod">
          <ac:chgData name="Jacob, Karen (SPAC/PSPC) (elle-la / she-her)" userId="66e9cce0-e37b-4645-a907-f7690bd68dfb" providerId="ADAL" clId="{871AC57A-6E3B-4D85-BA02-8D6F5065EA89}" dt="2024-06-05T17:57:36.566" v="146"/>
          <ac:spMkLst>
            <pc:docMk/>
            <pc:sldMk cId="1903397118" sldId="5004"/>
            <ac:spMk id="286" creationId="{774080CF-0AB5-FFEE-BF9A-B9EECAD655AF}"/>
          </ac:spMkLst>
        </pc:spChg>
        <pc:spChg chg="mod">
          <ac:chgData name="Jacob, Karen (SPAC/PSPC) (elle-la / she-her)" userId="66e9cce0-e37b-4645-a907-f7690bd68dfb" providerId="ADAL" clId="{871AC57A-6E3B-4D85-BA02-8D6F5065EA89}" dt="2024-06-05T17:57:36.566" v="146"/>
          <ac:spMkLst>
            <pc:docMk/>
            <pc:sldMk cId="1903397118" sldId="5004"/>
            <ac:spMk id="287" creationId="{19FF0BDD-B7F4-13C8-E580-18844F6BB050}"/>
          </ac:spMkLst>
        </pc:spChg>
        <pc:spChg chg="mod">
          <ac:chgData name="Jacob, Karen (SPAC/PSPC) (elle-la / she-her)" userId="66e9cce0-e37b-4645-a907-f7690bd68dfb" providerId="ADAL" clId="{871AC57A-6E3B-4D85-BA02-8D6F5065EA89}" dt="2024-06-05T17:57:36.566" v="146"/>
          <ac:spMkLst>
            <pc:docMk/>
            <pc:sldMk cId="1903397118" sldId="5004"/>
            <ac:spMk id="288" creationId="{0FD5D344-AF36-D2C5-068A-1F7928385672}"/>
          </ac:spMkLst>
        </pc:spChg>
        <pc:spChg chg="mod">
          <ac:chgData name="Jacob, Karen (SPAC/PSPC) (elle-la / she-her)" userId="66e9cce0-e37b-4645-a907-f7690bd68dfb" providerId="ADAL" clId="{871AC57A-6E3B-4D85-BA02-8D6F5065EA89}" dt="2024-06-05T17:57:36.566" v="146"/>
          <ac:spMkLst>
            <pc:docMk/>
            <pc:sldMk cId="1903397118" sldId="5004"/>
            <ac:spMk id="289" creationId="{AB521D2D-22B4-5235-B627-080EC3B108A2}"/>
          </ac:spMkLst>
        </pc:spChg>
        <pc:spChg chg="mod">
          <ac:chgData name="Jacob, Karen (SPAC/PSPC) (elle-la / she-her)" userId="66e9cce0-e37b-4645-a907-f7690bd68dfb" providerId="ADAL" clId="{871AC57A-6E3B-4D85-BA02-8D6F5065EA89}" dt="2024-06-05T17:57:36.566" v="146"/>
          <ac:spMkLst>
            <pc:docMk/>
            <pc:sldMk cId="1903397118" sldId="5004"/>
            <ac:spMk id="290" creationId="{22431310-A6AF-49F6-6C9D-66DF5DD0D27F}"/>
          </ac:spMkLst>
        </pc:spChg>
        <pc:spChg chg="mod">
          <ac:chgData name="Jacob, Karen (SPAC/PSPC) (elle-la / she-her)" userId="66e9cce0-e37b-4645-a907-f7690bd68dfb" providerId="ADAL" clId="{871AC57A-6E3B-4D85-BA02-8D6F5065EA89}" dt="2024-06-05T17:57:36.566" v="146"/>
          <ac:spMkLst>
            <pc:docMk/>
            <pc:sldMk cId="1903397118" sldId="5004"/>
            <ac:spMk id="291" creationId="{9FAC6019-9A10-4939-BC94-5E5751708FDF}"/>
          </ac:spMkLst>
        </pc:spChg>
        <pc:spChg chg="mod">
          <ac:chgData name="Jacob, Karen (SPAC/PSPC) (elle-la / she-her)" userId="66e9cce0-e37b-4645-a907-f7690bd68dfb" providerId="ADAL" clId="{871AC57A-6E3B-4D85-BA02-8D6F5065EA89}" dt="2024-06-05T17:57:36.566" v="146"/>
          <ac:spMkLst>
            <pc:docMk/>
            <pc:sldMk cId="1903397118" sldId="5004"/>
            <ac:spMk id="292" creationId="{3B1771D4-D09C-1C15-0843-1181CAC953F2}"/>
          </ac:spMkLst>
        </pc:spChg>
        <pc:spChg chg="mod">
          <ac:chgData name="Jacob, Karen (SPAC/PSPC) (elle-la / she-her)" userId="66e9cce0-e37b-4645-a907-f7690bd68dfb" providerId="ADAL" clId="{871AC57A-6E3B-4D85-BA02-8D6F5065EA89}" dt="2024-06-05T17:57:36.566" v="146"/>
          <ac:spMkLst>
            <pc:docMk/>
            <pc:sldMk cId="1903397118" sldId="5004"/>
            <ac:spMk id="293" creationId="{838CB9D1-8A76-3A28-E971-C3E0109D1CAC}"/>
          </ac:spMkLst>
        </pc:spChg>
        <pc:spChg chg="mod">
          <ac:chgData name="Jacob, Karen (SPAC/PSPC) (elle-la / she-her)" userId="66e9cce0-e37b-4645-a907-f7690bd68dfb" providerId="ADAL" clId="{871AC57A-6E3B-4D85-BA02-8D6F5065EA89}" dt="2024-06-05T17:57:36.566" v="146"/>
          <ac:spMkLst>
            <pc:docMk/>
            <pc:sldMk cId="1903397118" sldId="5004"/>
            <ac:spMk id="294" creationId="{C4A16E60-C7A3-3B14-06D7-381D31E7E531}"/>
          </ac:spMkLst>
        </pc:spChg>
        <pc:spChg chg="mod">
          <ac:chgData name="Jacob, Karen (SPAC/PSPC) (elle-la / she-her)" userId="66e9cce0-e37b-4645-a907-f7690bd68dfb" providerId="ADAL" clId="{871AC57A-6E3B-4D85-BA02-8D6F5065EA89}" dt="2024-06-05T17:57:36.566" v="146"/>
          <ac:spMkLst>
            <pc:docMk/>
            <pc:sldMk cId="1903397118" sldId="5004"/>
            <ac:spMk id="295" creationId="{19F3388E-D131-FBD3-98A4-71304B569646}"/>
          </ac:spMkLst>
        </pc:spChg>
        <pc:spChg chg="mod">
          <ac:chgData name="Jacob, Karen (SPAC/PSPC) (elle-la / she-her)" userId="66e9cce0-e37b-4645-a907-f7690bd68dfb" providerId="ADAL" clId="{871AC57A-6E3B-4D85-BA02-8D6F5065EA89}" dt="2024-06-05T17:57:36.566" v="146"/>
          <ac:spMkLst>
            <pc:docMk/>
            <pc:sldMk cId="1903397118" sldId="5004"/>
            <ac:spMk id="296" creationId="{FDE52C8F-34CB-9EB6-FC99-2EDED2E806BC}"/>
          </ac:spMkLst>
        </pc:spChg>
        <pc:spChg chg="mod">
          <ac:chgData name="Jacob, Karen (SPAC/PSPC) (elle-la / she-her)" userId="66e9cce0-e37b-4645-a907-f7690bd68dfb" providerId="ADAL" clId="{871AC57A-6E3B-4D85-BA02-8D6F5065EA89}" dt="2024-06-05T17:57:36.566" v="146"/>
          <ac:spMkLst>
            <pc:docMk/>
            <pc:sldMk cId="1903397118" sldId="5004"/>
            <ac:spMk id="297" creationId="{0D4059E6-064A-F09E-605C-93D419F53BEA}"/>
          </ac:spMkLst>
        </pc:spChg>
        <pc:spChg chg="mod">
          <ac:chgData name="Jacob, Karen (SPAC/PSPC) (elle-la / she-her)" userId="66e9cce0-e37b-4645-a907-f7690bd68dfb" providerId="ADAL" clId="{871AC57A-6E3B-4D85-BA02-8D6F5065EA89}" dt="2024-06-05T17:57:36.566" v="146"/>
          <ac:spMkLst>
            <pc:docMk/>
            <pc:sldMk cId="1903397118" sldId="5004"/>
            <ac:spMk id="298" creationId="{B9B09B50-9743-6084-2745-8346C1A0A97E}"/>
          </ac:spMkLst>
        </pc:spChg>
        <pc:spChg chg="mod">
          <ac:chgData name="Jacob, Karen (SPAC/PSPC) (elle-la / she-her)" userId="66e9cce0-e37b-4645-a907-f7690bd68dfb" providerId="ADAL" clId="{871AC57A-6E3B-4D85-BA02-8D6F5065EA89}" dt="2024-06-05T17:57:36.566" v="146"/>
          <ac:spMkLst>
            <pc:docMk/>
            <pc:sldMk cId="1903397118" sldId="5004"/>
            <ac:spMk id="299" creationId="{07A63101-4128-02C4-0422-5764B922EA50}"/>
          </ac:spMkLst>
        </pc:spChg>
        <pc:spChg chg="mod">
          <ac:chgData name="Jacob, Karen (SPAC/PSPC) (elle-la / she-her)" userId="66e9cce0-e37b-4645-a907-f7690bd68dfb" providerId="ADAL" clId="{871AC57A-6E3B-4D85-BA02-8D6F5065EA89}" dt="2024-06-05T17:57:36.566" v="146"/>
          <ac:spMkLst>
            <pc:docMk/>
            <pc:sldMk cId="1903397118" sldId="5004"/>
            <ac:spMk id="300" creationId="{867D8935-C439-D4E2-B997-89C4354D5259}"/>
          </ac:spMkLst>
        </pc:spChg>
        <pc:spChg chg="mod">
          <ac:chgData name="Jacob, Karen (SPAC/PSPC) (elle-la / she-her)" userId="66e9cce0-e37b-4645-a907-f7690bd68dfb" providerId="ADAL" clId="{871AC57A-6E3B-4D85-BA02-8D6F5065EA89}" dt="2024-06-05T17:57:36.566" v="146"/>
          <ac:spMkLst>
            <pc:docMk/>
            <pc:sldMk cId="1903397118" sldId="5004"/>
            <ac:spMk id="301" creationId="{D44CCA65-1CEB-229A-25FC-7D755DC53405}"/>
          </ac:spMkLst>
        </pc:spChg>
        <pc:spChg chg="mod">
          <ac:chgData name="Jacob, Karen (SPAC/PSPC) (elle-la / she-her)" userId="66e9cce0-e37b-4645-a907-f7690bd68dfb" providerId="ADAL" clId="{871AC57A-6E3B-4D85-BA02-8D6F5065EA89}" dt="2024-06-05T17:57:36.566" v="146"/>
          <ac:spMkLst>
            <pc:docMk/>
            <pc:sldMk cId="1903397118" sldId="5004"/>
            <ac:spMk id="302" creationId="{EC2E7FE4-95A6-B60E-21E9-07D8AB41D095}"/>
          </ac:spMkLst>
        </pc:spChg>
        <pc:spChg chg="mod">
          <ac:chgData name="Jacob, Karen (SPAC/PSPC) (elle-la / she-her)" userId="66e9cce0-e37b-4645-a907-f7690bd68dfb" providerId="ADAL" clId="{871AC57A-6E3B-4D85-BA02-8D6F5065EA89}" dt="2024-06-05T17:57:36.566" v="146"/>
          <ac:spMkLst>
            <pc:docMk/>
            <pc:sldMk cId="1903397118" sldId="5004"/>
            <ac:spMk id="303" creationId="{486F8B69-4A98-F70C-F870-3BEDB049F19A}"/>
          </ac:spMkLst>
        </pc:spChg>
        <pc:spChg chg="mod">
          <ac:chgData name="Jacob, Karen (SPAC/PSPC) (elle-la / she-her)" userId="66e9cce0-e37b-4645-a907-f7690bd68dfb" providerId="ADAL" clId="{871AC57A-6E3B-4D85-BA02-8D6F5065EA89}" dt="2024-06-05T17:57:36.566" v="146"/>
          <ac:spMkLst>
            <pc:docMk/>
            <pc:sldMk cId="1903397118" sldId="5004"/>
            <ac:spMk id="304" creationId="{033643F7-861B-551D-874C-DB6F96FDF6AD}"/>
          </ac:spMkLst>
        </pc:spChg>
        <pc:spChg chg="mod">
          <ac:chgData name="Jacob, Karen (SPAC/PSPC) (elle-la / she-her)" userId="66e9cce0-e37b-4645-a907-f7690bd68dfb" providerId="ADAL" clId="{871AC57A-6E3B-4D85-BA02-8D6F5065EA89}" dt="2024-06-05T17:57:36.566" v="146"/>
          <ac:spMkLst>
            <pc:docMk/>
            <pc:sldMk cId="1903397118" sldId="5004"/>
            <ac:spMk id="305" creationId="{5FC6F875-BD0D-F981-2495-3C7D2B9C91D3}"/>
          </ac:spMkLst>
        </pc:spChg>
        <pc:spChg chg="mod">
          <ac:chgData name="Jacob, Karen (SPAC/PSPC) (elle-la / she-her)" userId="66e9cce0-e37b-4645-a907-f7690bd68dfb" providerId="ADAL" clId="{871AC57A-6E3B-4D85-BA02-8D6F5065EA89}" dt="2024-06-05T17:57:36.566" v="146"/>
          <ac:spMkLst>
            <pc:docMk/>
            <pc:sldMk cId="1903397118" sldId="5004"/>
            <ac:spMk id="306" creationId="{23CA3B9F-484A-3CC5-CE87-C0627FC8A68A}"/>
          </ac:spMkLst>
        </pc:spChg>
        <pc:spChg chg="mod">
          <ac:chgData name="Jacob, Karen (SPAC/PSPC) (elle-la / she-her)" userId="66e9cce0-e37b-4645-a907-f7690bd68dfb" providerId="ADAL" clId="{871AC57A-6E3B-4D85-BA02-8D6F5065EA89}" dt="2024-06-05T17:57:36.566" v="146"/>
          <ac:spMkLst>
            <pc:docMk/>
            <pc:sldMk cId="1903397118" sldId="5004"/>
            <ac:spMk id="307" creationId="{47AC2C31-60A4-7A86-EA0C-458788262976}"/>
          </ac:spMkLst>
        </pc:spChg>
        <pc:spChg chg="mod">
          <ac:chgData name="Jacob, Karen (SPAC/PSPC) (elle-la / she-her)" userId="66e9cce0-e37b-4645-a907-f7690bd68dfb" providerId="ADAL" clId="{871AC57A-6E3B-4D85-BA02-8D6F5065EA89}" dt="2024-06-05T17:57:36.566" v="146"/>
          <ac:spMkLst>
            <pc:docMk/>
            <pc:sldMk cId="1903397118" sldId="5004"/>
            <ac:spMk id="308" creationId="{98B65BDA-599B-0949-6C51-1F247B3E9706}"/>
          </ac:spMkLst>
        </pc:spChg>
        <pc:spChg chg="mod">
          <ac:chgData name="Jacob, Karen (SPAC/PSPC) (elle-la / she-her)" userId="66e9cce0-e37b-4645-a907-f7690bd68dfb" providerId="ADAL" clId="{871AC57A-6E3B-4D85-BA02-8D6F5065EA89}" dt="2024-06-05T17:57:36.566" v="146"/>
          <ac:spMkLst>
            <pc:docMk/>
            <pc:sldMk cId="1903397118" sldId="5004"/>
            <ac:spMk id="309" creationId="{DDEEA858-3A27-BB44-9C2C-75D5FF37337A}"/>
          </ac:spMkLst>
        </pc:spChg>
        <pc:spChg chg="mod">
          <ac:chgData name="Jacob, Karen (SPAC/PSPC) (elle-la / she-her)" userId="66e9cce0-e37b-4645-a907-f7690bd68dfb" providerId="ADAL" clId="{871AC57A-6E3B-4D85-BA02-8D6F5065EA89}" dt="2024-06-05T17:57:36.566" v="146"/>
          <ac:spMkLst>
            <pc:docMk/>
            <pc:sldMk cId="1903397118" sldId="5004"/>
            <ac:spMk id="310" creationId="{E27278B1-F065-49ED-0B04-110DBFACA799}"/>
          </ac:spMkLst>
        </pc:spChg>
        <pc:spChg chg="mod">
          <ac:chgData name="Jacob, Karen (SPAC/PSPC) (elle-la / she-her)" userId="66e9cce0-e37b-4645-a907-f7690bd68dfb" providerId="ADAL" clId="{871AC57A-6E3B-4D85-BA02-8D6F5065EA89}" dt="2024-06-05T17:57:36.566" v="146"/>
          <ac:spMkLst>
            <pc:docMk/>
            <pc:sldMk cId="1903397118" sldId="5004"/>
            <ac:spMk id="311" creationId="{7C40C0AA-5751-FBDE-51E6-57E08FAA0E4F}"/>
          </ac:spMkLst>
        </pc:spChg>
        <pc:spChg chg="mod">
          <ac:chgData name="Jacob, Karen (SPAC/PSPC) (elle-la / she-her)" userId="66e9cce0-e37b-4645-a907-f7690bd68dfb" providerId="ADAL" clId="{871AC57A-6E3B-4D85-BA02-8D6F5065EA89}" dt="2024-06-05T17:57:36.566" v="146"/>
          <ac:spMkLst>
            <pc:docMk/>
            <pc:sldMk cId="1903397118" sldId="5004"/>
            <ac:spMk id="312" creationId="{2BC643A4-59D6-4771-A23C-A3A2BCF73164}"/>
          </ac:spMkLst>
        </pc:spChg>
        <pc:spChg chg="mod">
          <ac:chgData name="Jacob, Karen (SPAC/PSPC) (elle-la / she-her)" userId="66e9cce0-e37b-4645-a907-f7690bd68dfb" providerId="ADAL" clId="{871AC57A-6E3B-4D85-BA02-8D6F5065EA89}" dt="2024-06-05T17:57:36.566" v="146"/>
          <ac:spMkLst>
            <pc:docMk/>
            <pc:sldMk cId="1903397118" sldId="5004"/>
            <ac:spMk id="313" creationId="{F3AEAFB2-507E-E6C6-CAC5-A9E7E93450C6}"/>
          </ac:spMkLst>
        </pc:spChg>
        <pc:spChg chg="mod">
          <ac:chgData name="Jacob, Karen (SPAC/PSPC) (elle-la / she-her)" userId="66e9cce0-e37b-4645-a907-f7690bd68dfb" providerId="ADAL" clId="{871AC57A-6E3B-4D85-BA02-8D6F5065EA89}" dt="2024-06-05T17:57:36.566" v="146"/>
          <ac:spMkLst>
            <pc:docMk/>
            <pc:sldMk cId="1903397118" sldId="5004"/>
            <ac:spMk id="314" creationId="{8A5CA8C3-04EE-D308-3EFD-2F3CB333B52E}"/>
          </ac:spMkLst>
        </pc:spChg>
        <pc:spChg chg="mod">
          <ac:chgData name="Jacob, Karen (SPAC/PSPC) (elle-la / she-her)" userId="66e9cce0-e37b-4645-a907-f7690bd68dfb" providerId="ADAL" clId="{871AC57A-6E3B-4D85-BA02-8D6F5065EA89}" dt="2024-06-05T17:57:36.566" v="146"/>
          <ac:spMkLst>
            <pc:docMk/>
            <pc:sldMk cId="1903397118" sldId="5004"/>
            <ac:spMk id="315" creationId="{2BB1B088-9077-A516-170E-3DEF2F33CC85}"/>
          </ac:spMkLst>
        </pc:spChg>
        <pc:spChg chg="mod">
          <ac:chgData name="Jacob, Karen (SPAC/PSPC) (elle-la / she-her)" userId="66e9cce0-e37b-4645-a907-f7690bd68dfb" providerId="ADAL" clId="{871AC57A-6E3B-4D85-BA02-8D6F5065EA89}" dt="2024-06-05T17:57:36.566" v="146"/>
          <ac:spMkLst>
            <pc:docMk/>
            <pc:sldMk cId="1903397118" sldId="5004"/>
            <ac:spMk id="316" creationId="{771D1697-D2FE-F0D4-5D52-7F19B752A119}"/>
          </ac:spMkLst>
        </pc:spChg>
        <pc:spChg chg="add mod">
          <ac:chgData name="Jacob, Karen (SPAC/PSPC) (elle-la / she-her)" userId="66e9cce0-e37b-4645-a907-f7690bd68dfb" providerId="ADAL" clId="{871AC57A-6E3B-4D85-BA02-8D6F5065EA89}" dt="2024-06-05T17:57:36.566" v="146"/>
          <ac:spMkLst>
            <pc:docMk/>
            <pc:sldMk cId="1903397118" sldId="5004"/>
            <ac:spMk id="317" creationId="{1D75D7A5-BD9C-A104-7E84-56EE80A95381}"/>
          </ac:spMkLst>
        </pc:spChg>
        <pc:spChg chg="add mod">
          <ac:chgData name="Jacob, Karen (SPAC/PSPC) (elle-la / she-her)" userId="66e9cce0-e37b-4645-a907-f7690bd68dfb" providerId="ADAL" clId="{871AC57A-6E3B-4D85-BA02-8D6F5065EA89}" dt="2024-06-05T17:57:36.566" v="146"/>
          <ac:spMkLst>
            <pc:docMk/>
            <pc:sldMk cId="1903397118" sldId="5004"/>
            <ac:spMk id="318" creationId="{EF5D2575-B618-9FAB-F82A-CDD04C102B39}"/>
          </ac:spMkLst>
        </pc:spChg>
        <pc:spChg chg="mod">
          <ac:chgData name="Jacob, Karen (SPAC/PSPC) (elle-la / she-her)" userId="66e9cce0-e37b-4645-a907-f7690bd68dfb" providerId="ADAL" clId="{871AC57A-6E3B-4D85-BA02-8D6F5065EA89}" dt="2024-06-05T17:57:36.566" v="146"/>
          <ac:spMkLst>
            <pc:docMk/>
            <pc:sldMk cId="1903397118" sldId="5004"/>
            <ac:spMk id="320" creationId="{D87A5790-27FE-C887-FAFD-E174BDC19B8E}"/>
          </ac:spMkLst>
        </pc:spChg>
        <pc:spChg chg="mod">
          <ac:chgData name="Jacob, Karen (SPAC/PSPC) (elle-la / she-her)" userId="66e9cce0-e37b-4645-a907-f7690bd68dfb" providerId="ADAL" clId="{871AC57A-6E3B-4D85-BA02-8D6F5065EA89}" dt="2024-06-05T17:57:36.566" v="146"/>
          <ac:spMkLst>
            <pc:docMk/>
            <pc:sldMk cId="1903397118" sldId="5004"/>
            <ac:spMk id="338" creationId="{F7D9B1DA-E0D2-96FA-31CB-B48F1BBF1161}"/>
          </ac:spMkLst>
        </pc:spChg>
        <pc:spChg chg="mod">
          <ac:chgData name="Jacob, Karen (SPAC/PSPC) (elle-la / she-her)" userId="66e9cce0-e37b-4645-a907-f7690bd68dfb" providerId="ADAL" clId="{871AC57A-6E3B-4D85-BA02-8D6F5065EA89}" dt="2024-06-05T17:57:36.566" v="146"/>
          <ac:spMkLst>
            <pc:docMk/>
            <pc:sldMk cId="1903397118" sldId="5004"/>
            <ac:spMk id="339" creationId="{998CF674-0385-B57E-8E5C-BDF5D99193F0}"/>
          </ac:spMkLst>
        </pc:spChg>
        <pc:spChg chg="mod">
          <ac:chgData name="Jacob, Karen (SPAC/PSPC) (elle-la / she-her)" userId="66e9cce0-e37b-4645-a907-f7690bd68dfb" providerId="ADAL" clId="{871AC57A-6E3B-4D85-BA02-8D6F5065EA89}" dt="2024-06-05T17:57:36.566" v="146"/>
          <ac:spMkLst>
            <pc:docMk/>
            <pc:sldMk cId="1903397118" sldId="5004"/>
            <ac:spMk id="340" creationId="{85DDE41F-2DA4-DDCB-BEE1-F7D498B75C21}"/>
          </ac:spMkLst>
        </pc:spChg>
        <pc:spChg chg="mod">
          <ac:chgData name="Jacob, Karen (SPAC/PSPC) (elle-la / she-her)" userId="66e9cce0-e37b-4645-a907-f7690bd68dfb" providerId="ADAL" clId="{871AC57A-6E3B-4D85-BA02-8D6F5065EA89}" dt="2024-06-05T17:57:36.566" v="146"/>
          <ac:spMkLst>
            <pc:docMk/>
            <pc:sldMk cId="1903397118" sldId="5004"/>
            <ac:spMk id="341" creationId="{7CAE57B8-8868-7A43-2B27-8460417F9F7C}"/>
          </ac:spMkLst>
        </pc:spChg>
        <pc:spChg chg="mod">
          <ac:chgData name="Jacob, Karen (SPAC/PSPC) (elle-la / she-her)" userId="66e9cce0-e37b-4645-a907-f7690bd68dfb" providerId="ADAL" clId="{871AC57A-6E3B-4D85-BA02-8D6F5065EA89}" dt="2024-06-05T17:57:36.566" v="146"/>
          <ac:spMkLst>
            <pc:docMk/>
            <pc:sldMk cId="1903397118" sldId="5004"/>
            <ac:spMk id="342" creationId="{BF5A76E6-D3C3-7FA1-BF95-57AFFC4A7A37}"/>
          </ac:spMkLst>
        </pc:spChg>
        <pc:spChg chg="mod">
          <ac:chgData name="Jacob, Karen (SPAC/PSPC) (elle-la / she-her)" userId="66e9cce0-e37b-4645-a907-f7690bd68dfb" providerId="ADAL" clId="{871AC57A-6E3B-4D85-BA02-8D6F5065EA89}" dt="2024-06-05T17:57:36.566" v="146"/>
          <ac:spMkLst>
            <pc:docMk/>
            <pc:sldMk cId="1903397118" sldId="5004"/>
            <ac:spMk id="343" creationId="{DC448669-F3D2-9DB1-0080-C1FEBA980C05}"/>
          </ac:spMkLst>
        </pc:spChg>
        <pc:spChg chg="mod">
          <ac:chgData name="Jacob, Karen (SPAC/PSPC) (elle-la / she-her)" userId="66e9cce0-e37b-4645-a907-f7690bd68dfb" providerId="ADAL" clId="{871AC57A-6E3B-4D85-BA02-8D6F5065EA89}" dt="2024-06-05T17:57:36.566" v="146"/>
          <ac:spMkLst>
            <pc:docMk/>
            <pc:sldMk cId="1903397118" sldId="5004"/>
            <ac:spMk id="344" creationId="{78F489EF-6194-89FA-E319-A51B3AFB907D}"/>
          </ac:spMkLst>
        </pc:spChg>
        <pc:spChg chg="mod">
          <ac:chgData name="Jacob, Karen (SPAC/PSPC) (elle-la / she-her)" userId="66e9cce0-e37b-4645-a907-f7690bd68dfb" providerId="ADAL" clId="{871AC57A-6E3B-4D85-BA02-8D6F5065EA89}" dt="2024-06-05T17:57:36.566" v="146"/>
          <ac:spMkLst>
            <pc:docMk/>
            <pc:sldMk cId="1903397118" sldId="5004"/>
            <ac:spMk id="345" creationId="{0DFA77BE-1B0E-665E-9A88-891F165DEAF9}"/>
          </ac:spMkLst>
        </pc:spChg>
        <pc:spChg chg="mod">
          <ac:chgData name="Jacob, Karen (SPAC/PSPC) (elle-la / she-her)" userId="66e9cce0-e37b-4645-a907-f7690bd68dfb" providerId="ADAL" clId="{871AC57A-6E3B-4D85-BA02-8D6F5065EA89}" dt="2024-06-05T17:57:36.566" v="146"/>
          <ac:spMkLst>
            <pc:docMk/>
            <pc:sldMk cId="1903397118" sldId="5004"/>
            <ac:spMk id="346" creationId="{3145FF93-7039-36D5-B7BD-EB241200E86C}"/>
          </ac:spMkLst>
        </pc:spChg>
        <pc:spChg chg="mod">
          <ac:chgData name="Jacob, Karen (SPAC/PSPC) (elle-la / she-her)" userId="66e9cce0-e37b-4645-a907-f7690bd68dfb" providerId="ADAL" clId="{871AC57A-6E3B-4D85-BA02-8D6F5065EA89}" dt="2024-06-05T17:57:36.566" v="146"/>
          <ac:spMkLst>
            <pc:docMk/>
            <pc:sldMk cId="1903397118" sldId="5004"/>
            <ac:spMk id="347" creationId="{93C0BB04-8556-F3CC-65DA-86D368A49F41}"/>
          </ac:spMkLst>
        </pc:spChg>
        <pc:spChg chg="mod">
          <ac:chgData name="Jacob, Karen (SPAC/PSPC) (elle-la / she-her)" userId="66e9cce0-e37b-4645-a907-f7690bd68dfb" providerId="ADAL" clId="{871AC57A-6E3B-4D85-BA02-8D6F5065EA89}" dt="2024-06-05T17:57:36.566" v="146"/>
          <ac:spMkLst>
            <pc:docMk/>
            <pc:sldMk cId="1903397118" sldId="5004"/>
            <ac:spMk id="349" creationId="{14FFDEA1-32B4-5DAB-6590-0B2C24849EDB}"/>
          </ac:spMkLst>
        </pc:spChg>
        <pc:spChg chg="mod">
          <ac:chgData name="Jacob, Karen (SPAC/PSPC) (elle-la / she-her)" userId="66e9cce0-e37b-4645-a907-f7690bd68dfb" providerId="ADAL" clId="{871AC57A-6E3B-4D85-BA02-8D6F5065EA89}" dt="2024-06-05T17:57:36.566" v="146"/>
          <ac:spMkLst>
            <pc:docMk/>
            <pc:sldMk cId="1903397118" sldId="5004"/>
            <ac:spMk id="350" creationId="{BADBDD4E-26DF-116A-70DA-08FAB81006CA}"/>
          </ac:spMkLst>
        </pc:spChg>
        <pc:spChg chg="mod">
          <ac:chgData name="Jacob, Karen (SPAC/PSPC) (elle-la / she-her)" userId="66e9cce0-e37b-4645-a907-f7690bd68dfb" providerId="ADAL" clId="{871AC57A-6E3B-4D85-BA02-8D6F5065EA89}" dt="2024-06-05T17:57:36.566" v="146"/>
          <ac:spMkLst>
            <pc:docMk/>
            <pc:sldMk cId="1903397118" sldId="5004"/>
            <ac:spMk id="351" creationId="{B1D87758-02EE-D26B-BC33-6A6C0E04D7E1}"/>
          </ac:spMkLst>
        </pc:spChg>
        <pc:spChg chg="mod">
          <ac:chgData name="Jacob, Karen (SPAC/PSPC) (elle-la / she-her)" userId="66e9cce0-e37b-4645-a907-f7690bd68dfb" providerId="ADAL" clId="{871AC57A-6E3B-4D85-BA02-8D6F5065EA89}" dt="2024-06-05T17:57:36.566" v="146"/>
          <ac:spMkLst>
            <pc:docMk/>
            <pc:sldMk cId="1903397118" sldId="5004"/>
            <ac:spMk id="353" creationId="{C9A6A61C-1F3B-E878-2304-85D4B732F5CA}"/>
          </ac:spMkLst>
        </pc:spChg>
        <pc:spChg chg="mod">
          <ac:chgData name="Jacob, Karen (SPAC/PSPC) (elle-la / she-her)" userId="66e9cce0-e37b-4645-a907-f7690bd68dfb" providerId="ADAL" clId="{871AC57A-6E3B-4D85-BA02-8D6F5065EA89}" dt="2024-06-05T17:57:36.566" v="146"/>
          <ac:spMkLst>
            <pc:docMk/>
            <pc:sldMk cId="1903397118" sldId="5004"/>
            <ac:spMk id="355" creationId="{A47A33AD-0C62-2325-7EF1-DA1CFEBD4A70}"/>
          </ac:spMkLst>
        </pc:spChg>
        <pc:spChg chg="mod">
          <ac:chgData name="Jacob, Karen (SPAC/PSPC) (elle-la / she-her)" userId="66e9cce0-e37b-4645-a907-f7690bd68dfb" providerId="ADAL" clId="{871AC57A-6E3B-4D85-BA02-8D6F5065EA89}" dt="2024-06-05T17:57:36.566" v="146"/>
          <ac:spMkLst>
            <pc:docMk/>
            <pc:sldMk cId="1903397118" sldId="5004"/>
            <ac:spMk id="356" creationId="{68CB24E0-ED79-BBFB-138B-E3B48A85BC46}"/>
          </ac:spMkLst>
        </pc:spChg>
        <pc:spChg chg="mod">
          <ac:chgData name="Jacob, Karen (SPAC/PSPC) (elle-la / she-her)" userId="66e9cce0-e37b-4645-a907-f7690bd68dfb" providerId="ADAL" clId="{871AC57A-6E3B-4D85-BA02-8D6F5065EA89}" dt="2024-06-05T17:57:36.566" v="146"/>
          <ac:spMkLst>
            <pc:docMk/>
            <pc:sldMk cId="1903397118" sldId="5004"/>
            <ac:spMk id="357" creationId="{31919294-ABFB-D1FD-D945-3E6B0EA2C1E9}"/>
          </ac:spMkLst>
        </pc:spChg>
        <pc:spChg chg="mod">
          <ac:chgData name="Jacob, Karen (SPAC/PSPC) (elle-la / she-her)" userId="66e9cce0-e37b-4645-a907-f7690bd68dfb" providerId="ADAL" clId="{871AC57A-6E3B-4D85-BA02-8D6F5065EA89}" dt="2024-06-05T17:57:36.566" v="146"/>
          <ac:spMkLst>
            <pc:docMk/>
            <pc:sldMk cId="1903397118" sldId="5004"/>
            <ac:spMk id="358" creationId="{28B51801-5EE8-88EE-74FB-0D97FAF6FC2B}"/>
          </ac:spMkLst>
        </pc:spChg>
        <pc:spChg chg="mod">
          <ac:chgData name="Jacob, Karen (SPAC/PSPC) (elle-la / she-her)" userId="66e9cce0-e37b-4645-a907-f7690bd68dfb" providerId="ADAL" clId="{871AC57A-6E3B-4D85-BA02-8D6F5065EA89}" dt="2024-06-05T17:57:36.566" v="146"/>
          <ac:spMkLst>
            <pc:docMk/>
            <pc:sldMk cId="1903397118" sldId="5004"/>
            <ac:spMk id="359" creationId="{9C61AB28-EA26-F522-7942-33F9BEC1C4BE}"/>
          </ac:spMkLst>
        </pc:spChg>
        <pc:spChg chg="mod">
          <ac:chgData name="Jacob, Karen (SPAC/PSPC) (elle-la / she-her)" userId="66e9cce0-e37b-4645-a907-f7690bd68dfb" providerId="ADAL" clId="{871AC57A-6E3B-4D85-BA02-8D6F5065EA89}" dt="2024-06-05T17:57:36.566" v="146"/>
          <ac:spMkLst>
            <pc:docMk/>
            <pc:sldMk cId="1903397118" sldId="5004"/>
            <ac:spMk id="360" creationId="{CBDC4266-928F-7827-C884-7B0DA949BC4D}"/>
          </ac:spMkLst>
        </pc:spChg>
        <pc:spChg chg="mod">
          <ac:chgData name="Jacob, Karen (SPAC/PSPC) (elle-la / she-her)" userId="66e9cce0-e37b-4645-a907-f7690bd68dfb" providerId="ADAL" clId="{871AC57A-6E3B-4D85-BA02-8D6F5065EA89}" dt="2024-06-05T17:57:36.566" v="146"/>
          <ac:spMkLst>
            <pc:docMk/>
            <pc:sldMk cId="1903397118" sldId="5004"/>
            <ac:spMk id="361" creationId="{24E47F1E-EC20-DECC-09B4-981C57D1C520}"/>
          </ac:spMkLst>
        </pc:spChg>
        <pc:spChg chg="mod">
          <ac:chgData name="Jacob, Karen (SPAC/PSPC) (elle-la / she-her)" userId="66e9cce0-e37b-4645-a907-f7690bd68dfb" providerId="ADAL" clId="{871AC57A-6E3B-4D85-BA02-8D6F5065EA89}" dt="2024-06-05T17:57:36.566" v="146"/>
          <ac:spMkLst>
            <pc:docMk/>
            <pc:sldMk cId="1903397118" sldId="5004"/>
            <ac:spMk id="362" creationId="{76A1C3CF-0407-440D-C49A-F9BD2CFA1D0F}"/>
          </ac:spMkLst>
        </pc:spChg>
        <pc:spChg chg="mod">
          <ac:chgData name="Jacob, Karen (SPAC/PSPC) (elle-la / she-her)" userId="66e9cce0-e37b-4645-a907-f7690bd68dfb" providerId="ADAL" clId="{871AC57A-6E3B-4D85-BA02-8D6F5065EA89}" dt="2024-06-05T17:57:36.566" v="146"/>
          <ac:spMkLst>
            <pc:docMk/>
            <pc:sldMk cId="1903397118" sldId="5004"/>
            <ac:spMk id="363" creationId="{667492B7-C501-9816-8560-F8D7E95DF2D2}"/>
          </ac:spMkLst>
        </pc:spChg>
        <pc:spChg chg="mod">
          <ac:chgData name="Jacob, Karen (SPAC/PSPC) (elle-la / she-her)" userId="66e9cce0-e37b-4645-a907-f7690bd68dfb" providerId="ADAL" clId="{871AC57A-6E3B-4D85-BA02-8D6F5065EA89}" dt="2024-06-05T17:57:36.566" v="146"/>
          <ac:spMkLst>
            <pc:docMk/>
            <pc:sldMk cId="1903397118" sldId="5004"/>
            <ac:spMk id="364" creationId="{59B7DD87-410C-F060-2CBB-AACB80FC6008}"/>
          </ac:spMkLst>
        </pc:spChg>
        <pc:spChg chg="mod">
          <ac:chgData name="Jacob, Karen (SPAC/PSPC) (elle-la / she-her)" userId="66e9cce0-e37b-4645-a907-f7690bd68dfb" providerId="ADAL" clId="{871AC57A-6E3B-4D85-BA02-8D6F5065EA89}" dt="2024-06-05T17:57:36.566" v="146"/>
          <ac:spMkLst>
            <pc:docMk/>
            <pc:sldMk cId="1903397118" sldId="5004"/>
            <ac:spMk id="365" creationId="{8EE1059E-8E49-4FC0-2393-3E27EC6CA9DD}"/>
          </ac:spMkLst>
        </pc:spChg>
        <pc:spChg chg="mod">
          <ac:chgData name="Jacob, Karen (SPAC/PSPC) (elle-la / she-her)" userId="66e9cce0-e37b-4645-a907-f7690bd68dfb" providerId="ADAL" clId="{871AC57A-6E3B-4D85-BA02-8D6F5065EA89}" dt="2024-06-05T17:57:36.566" v="146"/>
          <ac:spMkLst>
            <pc:docMk/>
            <pc:sldMk cId="1903397118" sldId="5004"/>
            <ac:spMk id="366" creationId="{895B0E11-FDF7-4EE9-CE11-C172CDFA3A3B}"/>
          </ac:spMkLst>
        </pc:spChg>
        <pc:spChg chg="mod">
          <ac:chgData name="Jacob, Karen (SPAC/PSPC) (elle-la / she-her)" userId="66e9cce0-e37b-4645-a907-f7690bd68dfb" providerId="ADAL" clId="{871AC57A-6E3B-4D85-BA02-8D6F5065EA89}" dt="2024-06-05T17:57:36.566" v="146"/>
          <ac:spMkLst>
            <pc:docMk/>
            <pc:sldMk cId="1903397118" sldId="5004"/>
            <ac:spMk id="367" creationId="{422451E4-52DC-A515-8B18-9AD12540021C}"/>
          </ac:spMkLst>
        </pc:spChg>
        <pc:spChg chg="mod">
          <ac:chgData name="Jacob, Karen (SPAC/PSPC) (elle-la / she-her)" userId="66e9cce0-e37b-4645-a907-f7690bd68dfb" providerId="ADAL" clId="{871AC57A-6E3B-4D85-BA02-8D6F5065EA89}" dt="2024-06-05T17:57:36.566" v="146"/>
          <ac:spMkLst>
            <pc:docMk/>
            <pc:sldMk cId="1903397118" sldId="5004"/>
            <ac:spMk id="368" creationId="{403C304D-2037-1CA2-3B9E-428983DC0A78}"/>
          </ac:spMkLst>
        </pc:spChg>
        <pc:spChg chg="mod">
          <ac:chgData name="Jacob, Karen (SPAC/PSPC) (elle-la / she-her)" userId="66e9cce0-e37b-4645-a907-f7690bd68dfb" providerId="ADAL" clId="{871AC57A-6E3B-4D85-BA02-8D6F5065EA89}" dt="2024-06-05T17:57:36.566" v="146"/>
          <ac:spMkLst>
            <pc:docMk/>
            <pc:sldMk cId="1903397118" sldId="5004"/>
            <ac:spMk id="369" creationId="{E1B62F7C-5C3A-0D35-B29C-630C9436367C}"/>
          </ac:spMkLst>
        </pc:spChg>
        <pc:spChg chg="mod">
          <ac:chgData name="Jacob, Karen (SPAC/PSPC) (elle-la / she-her)" userId="66e9cce0-e37b-4645-a907-f7690bd68dfb" providerId="ADAL" clId="{871AC57A-6E3B-4D85-BA02-8D6F5065EA89}" dt="2024-06-05T17:57:36.566" v="146"/>
          <ac:spMkLst>
            <pc:docMk/>
            <pc:sldMk cId="1903397118" sldId="5004"/>
            <ac:spMk id="370" creationId="{27C678A3-D96E-881D-5FC1-1E3937BCA566}"/>
          </ac:spMkLst>
        </pc:spChg>
        <pc:spChg chg="mod">
          <ac:chgData name="Jacob, Karen (SPAC/PSPC) (elle-la / she-her)" userId="66e9cce0-e37b-4645-a907-f7690bd68dfb" providerId="ADAL" clId="{871AC57A-6E3B-4D85-BA02-8D6F5065EA89}" dt="2024-06-05T17:57:36.566" v="146"/>
          <ac:spMkLst>
            <pc:docMk/>
            <pc:sldMk cId="1903397118" sldId="5004"/>
            <ac:spMk id="371" creationId="{8A316BC9-304C-1BE1-EA06-D835A1FE4584}"/>
          </ac:spMkLst>
        </pc:spChg>
        <pc:spChg chg="mod">
          <ac:chgData name="Jacob, Karen (SPAC/PSPC) (elle-la / she-her)" userId="66e9cce0-e37b-4645-a907-f7690bd68dfb" providerId="ADAL" clId="{871AC57A-6E3B-4D85-BA02-8D6F5065EA89}" dt="2024-06-05T17:57:36.566" v="146"/>
          <ac:spMkLst>
            <pc:docMk/>
            <pc:sldMk cId="1903397118" sldId="5004"/>
            <ac:spMk id="372" creationId="{3CF162D7-3917-8845-43B9-7A2E3F2C820A}"/>
          </ac:spMkLst>
        </pc:spChg>
        <pc:spChg chg="mod">
          <ac:chgData name="Jacob, Karen (SPAC/PSPC) (elle-la / she-her)" userId="66e9cce0-e37b-4645-a907-f7690bd68dfb" providerId="ADAL" clId="{871AC57A-6E3B-4D85-BA02-8D6F5065EA89}" dt="2024-06-05T17:57:36.566" v="146"/>
          <ac:spMkLst>
            <pc:docMk/>
            <pc:sldMk cId="1903397118" sldId="5004"/>
            <ac:spMk id="373" creationId="{0EA9EA86-8CF2-A9C9-9209-5181D0436DBA}"/>
          </ac:spMkLst>
        </pc:spChg>
        <pc:spChg chg="mod">
          <ac:chgData name="Jacob, Karen (SPAC/PSPC) (elle-la / she-her)" userId="66e9cce0-e37b-4645-a907-f7690bd68dfb" providerId="ADAL" clId="{871AC57A-6E3B-4D85-BA02-8D6F5065EA89}" dt="2024-06-05T17:57:36.566" v="146"/>
          <ac:spMkLst>
            <pc:docMk/>
            <pc:sldMk cId="1903397118" sldId="5004"/>
            <ac:spMk id="374" creationId="{B0EF5FA7-DE57-C068-6468-3F352B83AC4C}"/>
          </ac:spMkLst>
        </pc:spChg>
        <pc:spChg chg="mod">
          <ac:chgData name="Jacob, Karen (SPAC/PSPC) (elle-la / she-her)" userId="66e9cce0-e37b-4645-a907-f7690bd68dfb" providerId="ADAL" clId="{871AC57A-6E3B-4D85-BA02-8D6F5065EA89}" dt="2024-06-05T17:57:36.566" v="146"/>
          <ac:spMkLst>
            <pc:docMk/>
            <pc:sldMk cId="1903397118" sldId="5004"/>
            <ac:spMk id="375" creationId="{4E7EEB75-ABD9-6DEC-0830-0E055C516EE0}"/>
          </ac:spMkLst>
        </pc:spChg>
        <pc:spChg chg="mod">
          <ac:chgData name="Jacob, Karen (SPAC/PSPC) (elle-la / she-her)" userId="66e9cce0-e37b-4645-a907-f7690bd68dfb" providerId="ADAL" clId="{871AC57A-6E3B-4D85-BA02-8D6F5065EA89}" dt="2024-06-05T17:57:36.566" v="146"/>
          <ac:spMkLst>
            <pc:docMk/>
            <pc:sldMk cId="1903397118" sldId="5004"/>
            <ac:spMk id="376" creationId="{3D976C06-C00B-7EA9-4DAD-4785E81139F7}"/>
          </ac:spMkLst>
        </pc:spChg>
        <pc:spChg chg="mod">
          <ac:chgData name="Jacob, Karen (SPAC/PSPC) (elle-la / she-her)" userId="66e9cce0-e37b-4645-a907-f7690bd68dfb" providerId="ADAL" clId="{871AC57A-6E3B-4D85-BA02-8D6F5065EA89}" dt="2024-06-05T17:57:36.566" v="146"/>
          <ac:spMkLst>
            <pc:docMk/>
            <pc:sldMk cId="1903397118" sldId="5004"/>
            <ac:spMk id="377" creationId="{19D81DD1-5165-AE78-31DC-EF11695F47CE}"/>
          </ac:spMkLst>
        </pc:spChg>
        <pc:spChg chg="mod">
          <ac:chgData name="Jacob, Karen (SPAC/PSPC) (elle-la / she-her)" userId="66e9cce0-e37b-4645-a907-f7690bd68dfb" providerId="ADAL" clId="{871AC57A-6E3B-4D85-BA02-8D6F5065EA89}" dt="2024-06-05T17:57:36.566" v="146"/>
          <ac:spMkLst>
            <pc:docMk/>
            <pc:sldMk cId="1903397118" sldId="5004"/>
            <ac:spMk id="378" creationId="{C4120741-DFBE-786C-57C7-5693E112FC2D}"/>
          </ac:spMkLst>
        </pc:spChg>
        <pc:spChg chg="mod">
          <ac:chgData name="Jacob, Karen (SPAC/PSPC) (elle-la / she-her)" userId="66e9cce0-e37b-4645-a907-f7690bd68dfb" providerId="ADAL" clId="{871AC57A-6E3B-4D85-BA02-8D6F5065EA89}" dt="2024-06-05T17:57:36.566" v="146"/>
          <ac:spMkLst>
            <pc:docMk/>
            <pc:sldMk cId="1903397118" sldId="5004"/>
            <ac:spMk id="379" creationId="{C45C0B17-742E-1669-9042-3D78A83E5F50}"/>
          </ac:spMkLst>
        </pc:spChg>
        <pc:spChg chg="mod">
          <ac:chgData name="Jacob, Karen (SPAC/PSPC) (elle-la / she-her)" userId="66e9cce0-e37b-4645-a907-f7690bd68dfb" providerId="ADAL" clId="{871AC57A-6E3B-4D85-BA02-8D6F5065EA89}" dt="2024-06-05T17:57:36.566" v="146"/>
          <ac:spMkLst>
            <pc:docMk/>
            <pc:sldMk cId="1903397118" sldId="5004"/>
            <ac:spMk id="380" creationId="{3D47252D-FCBF-2BA2-5325-1C9B9D393FC0}"/>
          </ac:spMkLst>
        </pc:spChg>
        <pc:spChg chg="mod">
          <ac:chgData name="Jacob, Karen (SPAC/PSPC) (elle-la / she-her)" userId="66e9cce0-e37b-4645-a907-f7690bd68dfb" providerId="ADAL" clId="{871AC57A-6E3B-4D85-BA02-8D6F5065EA89}" dt="2024-06-05T17:57:36.566" v="146"/>
          <ac:spMkLst>
            <pc:docMk/>
            <pc:sldMk cId="1903397118" sldId="5004"/>
            <ac:spMk id="381" creationId="{FF51663F-8611-3EDA-6664-BF04A12A4277}"/>
          </ac:spMkLst>
        </pc:spChg>
        <pc:spChg chg="mod">
          <ac:chgData name="Jacob, Karen (SPAC/PSPC) (elle-la / she-her)" userId="66e9cce0-e37b-4645-a907-f7690bd68dfb" providerId="ADAL" clId="{871AC57A-6E3B-4D85-BA02-8D6F5065EA89}" dt="2024-06-05T17:57:36.566" v="146"/>
          <ac:spMkLst>
            <pc:docMk/>
            <pc:sldMk cId="1903397118" sldId="5004"/>
            <ac:spMk id="382" creationId="{D09C5E15-DC31-9DCC-4EF2-4F5E0786C8C9}"/>
          </ac:spMkLst>
        </pc:spChg>
        <pc:spChg chg="mod">
          <ac:chgData name="Jacob, Karen (SPAC/PSPC) (elle-la / she-her)" userId="66e9cce0-e37b-4645-a907-f7690bd68dfb" providerId="ADAL" clId="{871AC57A-6E3B-4D85-BA02-8D6F5065EA89}" dt="2024-06-05T17:57:36.566" v="146"/>
          <ac:spMkLst>
            <pc:docMk/>
            <pc:sldMk cId="1903397118" sldId="5004"/>
            <ac:spMk id="383" creationId="{9298A53B-C8C6-047D-02EF-08FE38538373}"/>
          </ac:spMkLst>
        </pc:spChg>
        <pc:spChg chg="mod">
          <ac:chgData name="Jacob, Karen (SPAC/PSPC) (elle-la / she-her)" userId="66e9cce0-e37b-4645-a907-f7690bd68dfb" providerId="ADAL" clId="{871AC57A-6E3B-4D85-BA02-8D6F5065EA89}" dt="2024-06-05T17:57:36.566" v="146"/>
          <ac:spMkLst>
            <pc:docMk/>
            <pc:sldMk cId="1903397118" sldId="5004"/>
            <ac:spMk id="384" creationId="{85B837AB-46E3-E2BA-439C-DD1AEA0EB5F5}"/>
          </ac:spMkLst>
        </pc:spChg>
        <pc:spChg chg="mod">
          <ac:chgData name="Jacob, Karen (SPAC/PSPC) (elle-la / she-her)" userId="66e9cce0-e37b-4645-a907-f7690bd68dfb" providerId="ADAL" clId="{871AC57A-6E3B-4D85-BA02-8D6F5065EA89}" dt="2024-06-05T17:57:36.566" v="146"/>
          <ac:spMkLst>
            <pc:docMk/>
            <pc:sldMk cId="1903397118" sldId="5004"/>
            <ac:spMk id="385" creationId="{45BE4A4F-3B5B-51EE-2455-B6DBB4CEF4CD}"/>
          </ac:spMkLst>
        </pc:spChg>
        <pc:spChg chg="mod">
          <ac:chgData name="Jacob, Karen (SPAC/PSPC) (elle-la / she-her)" userId="66e9cce0-e37b-4645-a907-f7690bd68dfb" providerId="ADAL" clId="{871AC57A-6E3B-4D85-BA02-8D6F5065EA89}" dt="2024-06-05T17:57:36.566" v="146"/>
          <ac:spMkLst>
            <pc:docMk/>
            <pc:sldMk cId="1903397118" sldId="5004"/>
            <ac:spMk id="386" creationId="{5A0D211F-8BD8-E458-8EAD-E795B7C4E1D8}"/>
          </ac:spMkLst>
        </pc:spChg>
        <pc:spChg chg="mod">
          <ac:chgData name="Jacob, Karen (SPAC/PSPC) (elle-la / she-her)" userId="66e9cce0-e37b-4645-a907-f7690bd68dfb" providerId="ADAL" clId="{871AC57A-6E3B-4D85-BA02-8D6F5065EA89}" dt="2024-06-05T17:57:36.566" v="146"/>
          <ac:spMkLst>
            <pc:docMk/>
            <pc:sldMk cId="1903397118" sldId="5004"/>
            <ac:spMk id="387" creationId="{6663921C-4C5E-1FCD-78AD-277532E84D07}"/>
          </ac:spMkLst>
        </pc:spChg>
        <pc:spChg chg="mod">
          <ac:chgData name="Jacob, Karen (SPAC/PSPC) (elle-la / she-her)" userId="66e9cce0-e37b-4645-a907-f7690bd68dfb" providerId="ADAL" clId="{871AC57A-6E3B-4D85-BA02-8D6F5065EA89}" dt="2024-06-05T17:57:36.566" v="146"/>
          <ac:spMkLst>
            <pc:docMk/>
            <pc:sldMk cId="1903397118" sldId="5004"/>
            <ac:spMk id="388" creationId="{518FCC8B-60FF-C916-BEFC-CE5E0B8A83F4}"/>
          </ac:spMkLst>
        </pc:spChg>
        <pc:spChg chg="mod">
          <ac:chgData name="Jacob, Karen (SPAC/PSPC) (elle-la / she-her)" userId="66e9cce0-e37b-4645-a907-f7690bd68dfb" providerId="ADAL" clId="{871AC57A-6E3B-4D85-BA02-8D6F5065EA89}" dt="2024-06-05T17:57:36.566" v="146"/>
          <ac:spMkLst>
            <pc:docMk/>
            <pc:sldMk cId="1903397118" sldId="5004"/>
            <ac:spMk id="389" creationId="{6879F53E-61A9-63D8-C95B-DA6061DCF694}"/>
          </ac:spMkLst>
        </pc:spChg>
        <pc:spChg chg="mod">
          <ac:chgData name="Jacob, Karen (SPAC/PSPC) (elle-la / she-her)" userId="66e9cce0-e37b-4645-a907-f7690bd68dfb" providerId="ADAL" clId="{871AC57A-6E3B-4D85-BA02-8D6F5065EA89}" dt="2024-06-05T17:57:36.566" v="146"/>
          <ac:spMkLst>
            <pc:docMk/>
            <pc:sldMk cId="1903397118" sldId="5004"/>
            <ac:spMk id="390" creationId="{930E5757-296C-D2F4-8314-2E307AEB1C84}"/>
          </ac:spMkLst>
        </pc:spChg>
        <pc:spChg chg="mod">
          <ac:chgData name="Jacob, Karen (SPAC/PSPC) (elle-la / she-her)" userId="66e9cce0-e37b-4645-a907-f7690bd68dfb" providerId="ADAL" clId="{871AC57A-6E3B-4D85-BA02-8D6F5065EA89}" dt="2024-06-05T17:57:36.566" v="146"/>
          <ac:spMkLst>
            <pc:docMk/>
            <pc:sldMk cId="1903397118" sldId="5004"/>
            <ac:spMk id="391" creationId="{70646DC3-1C19-8FFC-F24A-6A71A5DAE76E}"/>
          </ac:spMkLst>
        </pc:spChg>
        <pc:spChg chg="mod">
          <ac:chgData name="Jacob, Karen (SPAC/PSPC) (elle-la / she-her)" userId="66e9cce0-e37b-4645-a907-f7690bd68dfb" providerId="ADAL" clId="{871AC57A-6E3B-4D85-BA02-8D6F5065EA89}" dt="2024-06-05T17:57:36.566" v="146"/>
          <ac:spMkLst>
            <pc:docMk/>
            <pc:sldMk cId="1903397118" sldId="5004"/>
            <ac:spMk id="392" creationId="{F964AA4D-DC98-DA26-98AF-B8BB688C7E92}"/>
          </ac:spMkLst>
        </pc:spChg>
        <pc:spChg chg="mod">
          <ac:chgData name="Jacob, Karen (SPAC/PSPC) (elle-la / she-her)" userId="66e9cce0-e37b-4645-a907-f7690bd68dfb" providerId="ADAL" clId="{871AC57A-6E3B-4D85-BA02-8D6F5065EA89}" dt="2024-06-05T17:57:36.566" v="146"/>
          <ac:spMkLst>
            <pc:docMk/>
            <pc:sldMk cId="1903397118" sldId="5004"/>
            <ac:spMk id="393" creationId="{6290A588-0896-14F6-7D56-0CE8FFED4B04}"/>
          </ac:spMkLst>
        </pc:spChg>
        <pc:spChg chg="mod">
          <ac:chgData name="Jacob, Karen (SPAC/PSPC) (elle-la / she-her)" userId="66e9cce0-e37b-4645-a907-f7690bd68dfb" providerId="ADAL" clId="{871AC57A-6E3B-4D85-BA02-8D6F5065EA89}" dt="2024-06-05T17:57:36.566" v="146"/>
          <ac:spMkLst>
            <pc:docMk/>
            <pc:sldMk cId="1903397118" sldId="5004"/>
            <ac:spMk id="394" creationId="{22D8E642-D703-55F3-BE43-44FBE7997CED}"/>
          </ac:spMkLst>
        </pc:spChg>
        <pc:spChg chg="mod">
          <ac:chgData name="Jacob, Karen (SPAC/PSPC) (elle-la / she-her)" userId="66e9cce0-e37b-4645-a907-f7690bd68dfb" providerId="ADAL" clId="{871AC57A-6E3B-4D85-BA02-8D6F5065EA89}" dt="2024-06-05T17:57:36.566" v="146"/>
          <ac:spMkLst>
            <pc:docMk/>
            <pc:sldMk cId="1903397118" sldId="5004"/>
            <ac:spMk id="396" creationId="{8E0ED31E-ECB8-357F-C7AD-0ACADA6706E8}"/>
          </ac:spMkLst>
        </pc:spChg>
        <pc:spChg chg="mod">
          <ac:chgData name="Jacob, Karen (SPAC/PSPC) (elle-la / she-her)" userId="66e9cce0-e37b-4645-a907-f7690bd68dfb" providerId="ADAL" clId="{871AC57A-6E3B-4D85-BA02-8D6F5065EA89}" dt="2024-06-05T17:57:36.566" v="146"/>
          <ac:spMkLst>
            <pc:docMk/>
            <pc:sldMk cId="1903397118" sldId="5004"/>
            <ac:spMk id="398" creationId="{F532CF84-6CE9-B670-13E5-8CE1409D90A5}"/>
          </ac:spMkLst>
        </pc:spChg>
        <pc:spChg chg="mod">
          <ac:chgData name="Jacob, Karen (SPAC/PSPC) (elle-la / she-her)" userId="66e9cce0-e37b-4645-a907-f7690bd68dfb" providerId="ADAL" clId="{871AC57A-6E3B-4D85-BA02-8D6F5065EA89}" dt="2024-06-05T17:57:36.566" v="146"/>
          <ac:spMkLst>
            <pc:docMk/>
            <pc:sldMk cId="1903397118" sldId="5004"/>
            <ac:spMk id="399" creationId="{004ED8DE-329A-FC9C-01F6-F74978F0ECBC}"/>
          </ac:spMkLst>
        </pc:spChg>
        <pc:spChg chg="mod">
          <ac:chgData name="Jacob, Karen (SPAC/PSPC) (elle-la / she-her)" userId="66e9cce0-e37b-4645-a907-f7690bd68dfb" providerId="ADAL" clId="{871AC57A-6E3B-4D85-BA02-8D6F5065EA89}" dt="2024-06-05T17:57:36.566" v="146"/>
          <ac:spMkLst>
            <pc:docMk/>
            <pc:sldMk cId="1903397118" sldId="5004"/>
            <ac:spMk id="400" creationId="{D135EEC7-337E-D80C-223D-59B355CBBA1E}"/>
          </ac:spMkLst>
        </pc:spChg>
        <pc:spChg chg="mod">
          <ac:chgData name="Jacob, Karen (SPAC/PSPC) (elle-la / she-her)" userId="66e9cce0-e37b-4645-a907-f7690bd68dfb" providerId="ADAL" clId="{871AC57A-6E3B-4D85-BA02-8D6F5065EA89}" dt="2024-06-05T17:57:36.566" v="146"/>
          <ac:spMkLst>
            <pc:docMk/>
            <pc:sldMk cId="1903397118" sldId="5004"/>
            <ac:spMk id="401" creationId="{ACF9E784-722F-8432-AD01-686BE09F401B}"/>
          </ac:spMkLst>
        </pc:spChg>
        <pc:spChg chg="mod">
          <ac:chgData name="Jacob, Karen (SPAC/PSPC) (elle-la / she-her)" userId="66e9cce0-e37b-4645-a907-f7690bd68dfb" providerId="ADAL" clId="{871AC57A-6E3B-4D85-BA02-8D6F5065EA89}" dt="2024-06-05T17:57:36.566" v="146"/>
          <ac:spMkLst>
            <pc:docMk/>
            <pc:sldMk cId="1903397118" sldId="5004"/>
            <ac:spMk id="402" creationId="{08B9A9FC-53D8-2CD5-C486-2A473EEE9741}"/>
          </ac:spMkLst>
        </pc:spChg>
        <pc:spChg chg="mod">
          <ac:chgData name="Jacob, Karen (SPAC/PSPC) (elle-la / she-her)" userId="66e9cce0-e37b-4645-a907-f7690bd68dfb" providerId="ADAL" clId="{871AC57A-6E3B-4D85-BA02-8D6F5065EA89}" dt="2024-06-05T17:57:36.566" v="146"/>
          <ac:spMkLst>
            <pc:docMk/>
            <pc:sldMk cId="1903397118" sldId="5004"/>
            <ac:spMk id="403" creationId="{3461FAA6-BCCC-F6D1-FF1D-58B773B14E64}"/>
          </ac:spMkLst>
        </pc:spChg>
        <pc:spChg chg="mod">
          <ac:chgData name="Jacob, Karen (SPAC/PSPC) (elle-la / she-her)" userId="66e9cce0-e37b-4645-a907-f7690bd68dfb" providerId="ADAL" clId="{871AC57A-6E3B-4D85-BA02-8D6F5065EA89}" dt="2024-06-05T17:57:36.566" v="146"/>
          <ac:spMkLst>
            <pc:docMk/>
            <pc:sldMk cId="1903397118" sldId="5004"/>
            <ac:spMk id="404" creationId="{75F1B132-30A1-62B6-3E22-093C65AF15BB}"/>
          </ac:spMkLst>
        </pc:spChg>
        <pc:spChg chg="mod">
          <ac:chgData name="Jacob, Karen (SPAC/PSPC) (elle-la / she-her)" userId="66e9cce0-e37b-4645-a907-f7690bd68dfb" providerId="ADAL" clId="{871AC57A-6E3B-4D85-BA02-8D6F5065EA89}" dt="2024-06-05T17:57:36.566" v="146"/>
          <ac:spMkLst>
            <pc:docMk/>
            <pc:sldMk cId="1903397118" sldId="5004"/>
            <ac:spMk id="405" creationId="{7FD378A6-345F-E2E7-D453-E655650AA393}"/>
          </ac:spMkLst>
        </pc:spChg>
        <pc:spChg chg="mod">
          <ac:chgData name="Jacob, Karen (SPAC/PSPC) (elle-la / she-her)" userId="66e9cce0-e37b-4645-a907-f7690bd68dfb" providerId="ADAL" clId="{871AC57A-6E3B-4D85-BA02-8D6F5065EA89}" dt="2024-06-05T17:57:36.566" v="146"/>
          <ac:spMkLst>
            <pc:docMk/>
            <pc:sldMk cId="1903397118" sldId="5004"/>
            <ac:spMk id="406" creationId="{DA800345-BE79-EC4D-7E58-847F894716BC}"/>
          </ac:spMkLst>
        </pc:spChg>
        <pc:spChg chg="mod">
          <ac:chgData name="Jacob, Karen (SPAC/PSPC) (elle-la / she-her)" userId="66e9cce0-e37b-4645-a907-f7690bd68dfb" providerId="ADAL" clId="{871AC57A-6E3B-4D85-BA02-8D6F5065EA89}" dt="2024-06-05T17:57:36.566" v="146"/>
          <ac:spMkLst>
            <pc:docMk/>
            <pc:sldMk cId="1903397118" sldId="5004"/>
            <ac:spMk id="407" creationId="{F15C3B30-31F6-2624-A307-CB256E41E652}"/>
          </ac:spMkLst>
        </pc:spChg>
        <pc:spChg chg="mod">
          <ac:chgData name="Jacob, Karen (SPAC/PSPC) (elle-la / she-her)" userId="66e9cce0-e37b-4645-a907-f7690bd68dfb" providerId="ADAL" clId="{871AC57A-6E3B-4D85-BA02-8D6F5065EA89}" dt="2024-06-05T17:57:36.566" v="146"/>
          <ac:spMkLst>
            <pc:docMk/>
            <pc:sldMk cId="1903397118" sldId="5004"/>
            <ac:spMk id="408" creationId="{3B7FE0F3-FD5A-F5B3-C1E1-D75DC1EF22A7}"/>
          </ac:spMkLst>
        </pc:spChg>
        <pc:spChg chg="mod">
          <ac:chgData name="Jacob, Karen (SPAC/PSPC) (elle-la / she-her)" userId="66e9cce0-e37b-4645-a907-f7690bd68dfb" providerId="ADAL" clId="{871AC57A-6E3B-4D85-BA02-8D6F5065EA89}" dt="2024-06-05T17:57:36.566" v="146"/>
          <ac:spMkLst>
            <pc:docMk/>
            <pc:sldMk cId="1903397118" sldId="5004"/>
            <ac:spMk id="409" creationId="{0FA14930-CFBB-A749-53A5-D596323ACDE3}"/>
          </ac:spMkLst>
        </pc:spChg>
        <pc:spChg chg="mod">
          <ac:chgData name="Jacob, Karen (SPAC/PSPC) (elle-la / she-her)" userId="66e9cce0-e37b-4645-a907-f7690bd68dfb" providerId="ADAL" clId="{871AC57A-6E3B-4D85-BA02-8D6F5065EA89}" dt="2024-06-05T17:57:36.566" v="146"/>
          <ac:spMkLst>
            <pc:docMk/>
            <pc:sldMk cId="1903397118" sldId="5004"/>
            <ac:spMk id="410" creationId="{A683DC47-DF7D-C873-2485-31A84F7764ED}"/>
          </ac:spMkLst>
        </pc:spChg>
        <pc:spChg chg="mod">
          <ac:chgData name="Jacob, Karen (SPAC/PSPC) (elle-la / she-her)" userId="66e9cce0-e37b-4645-a907-f7690bd68dfb" providerId="ADAL" clId="{871AC57A-6E3B-4D85-BA02-8D6F5065EA89}" dt="2024-06-05T17:57:36.566" v="146"/>
          <ac:spMkLst>
            <pc:docMk/>
            <pc:sldMk cId="1903397118" sldId="5004"/>
            <ac:spMk id="411" creationId="{AAA82E85-139B-B088-A842-3E336EA250A7}"/>
          </ac:spMkLst>
        </pc:spChg>
        <pc:spChg chg="mod">
          <ac:chgData name="Jacob, Karen (SPAC/PSPC) (elle-la / she-her)" userId="66e9cce0-e37b-4645-a907-f7690bd68dfb" providerId="ADAL" clId="{871AC57A-6E3B-4D85-BA02-8D6F5065EA89}" dt="2024-06-05T17:57:36.566" v="146"/>
          <ac:spMkLst>
            <pc:docMk/>
            <pc:sldMk cId="1903397118" sldId="5004"/>
            <ac:spMk id="412" creationId="{B672E6B1-81B6-171D-2B40-B72D7FCF608A}"/>
          </ac:spMkLst>
        </pc:spChg>
        <pc:spChg chg="mod">
          <ac:chgData name="Jacob, Karen (SPAC/PSPC) (elle-la / she-her)" userId="66e9cce0-e37b-4645-a907-f7690bd68dfb" providerId="ADAL" clId="{871AC57A-6E3B-4D85-BA02-8D6F5065EA89}" dt="2024-06-05T17:57:36.566" v="146"/>
          <ac:spMkLst>
            <pc:docMk/>
            <pc:sldMk cId="1903397118" sldId="5004"/>
            <ac:spMk id="413" creationId="{A8F8773D-1B52-7FAB-EFA5-652F8A435D63}"/>
          </ac:spMkLst>
        </pc:spChg>
        <pc:spChg chg="mod">
          <ac:chgData name="Jacob, Karen (SPAC/PSPC) (elle-la / she-her)" userId="66e9cce0-e37b-4645-a907-f7690bd68dfb" providerId="ADAL" clId="{871AC57A-6E3B-4D85-BA02-8D6F5065EA89}" dt="2024-06-05T17:57:36.566" v="146"/>
          <ac:spMkLst>
            <pc:docMk/>
            <pc:sldMk cId="1903397118" sldId="5004"/>
            <ac:spMk id="414" creationId="{CE4772F8-DC28-6D96-6773-A8919C9EB357}"/>
          </ac:spMkLst>
        </pc:spChg>
        <pc:spChg chg="mod">
          <ac:chgData name="Jacob, Karen (SPAC/PSPC) (elle-la / she-her)" userId="66e9cce0-e37b-4645-a907-f7690bd68dfb" providerId="ADAL" clId="{871AC57A-6E3B-4D85-BA02-8D6F5065EA89}" dt="2024-06-05T17:57:36.566" v="146"/>
          <ac:spMkLst>
            <pc:docMk/>
            <pc:sldMk cId="1903397118" sldId="5004"/>
            <ac:spMk id="415" creationId="{16C8AEFA-31E6-F477-E922-D1826D11EEF2}"/>
          </ac:spMkLst>
        </pc:spChg>
        <pc:spChg chg="mod">
          <ac:chgData name="Jacob, Karen (SPAC/PSPC) (elle-la / she-her)" userId="66e9cce0-e37b-4645-a907-f7690bd68dfb" providerId="ADAL" clId="{871AC57A-6E3B-4D85-BA02-8D6F5065EA89}" dt="2024-06-05T17:57:36.566" v="146"/>
          <ac:spMkLst>
            <pc:docMk/>
            <pc:sldMk cId="1903397118" sldId="5004"/>
            <ac:spMk id="416" creationId="{02E11AF2-7511-D94F-500A-C73C85791688}"/>
          </ac:spMkLst>
        </pc:spChg>
        <pc:spChg chg="mod">
          <ac:chgData name="Jacob, Karen (SPAC/PSPC) (elle-la / she-her)" userId="66e9cce0-e37b-4645-a907-f7690bd68dfb" providerId="ADAL" clId="{871AC57A-6E3B-4D85-BA02-8D6F5065EA89}" dt="2024-06-05T17:57:36.566" v="146"/>
          <ac:spMkLst>
            <pc:docMk/>
            <pc:sldMk cId="1903397118" sldId="5004"/>
            <ac:spMk id="417" creationId="{EC4089EF-1F0A-EBC1-6E7F-94C8DF4E8FE5}"/>
          </ac:spMkLst>
        </pc:spChg>
        <pc:spChg chg="mod">
          <ac:chgData name="Jacob, Karen (SPAC/PSPC) (elle-la / she-her)" userId="66e9cce0-e37b-4645-a907-f7690bd68dfb" providerId="ADAL" clId="{871AC57A-6E3B-4D85-BA02-8D6F5065EA89}" dt="2024-06-05T17:57:36.566" v="146"/>
          <ac:spMkLst>
            <pc:docMk/>
            <pc:sldMk cId="1903397118" sldId="5004"/>
            <ac:spMk id="418" creationId="{8E573EF2-2B10-9683-B462-AD2433C53499}"/>
          </ac:spMkLst>
        </pc:spChg>
        <pc:spChg chg="mod">
          <ac:chgData name="Jacob, Karen (SPAC/PSPC) (elle-la / she-her)" userId="66e9cce0-e37b-4645-a907-f7690bd68dfb" providerId="ADAL" clId="{871AC57A-6E3B-4D85-BA02-8D6F5065EA89}" dt="2024-06-05T17:57:36.566" v="146"/>
          <ac:spMkLst>
            <pc:docMk/>
            <pc:sldMk cId="1903397118" sldId="5004"/>
            <ac:spMk id="419" creationId="{A20A6F5F-6BDA-66DC-E0FE-08D7E901BA8D}"/>
          </ac:spMkLst>
        </pc:spChg>
        <pc:spChg chg="mod">
          <ac:chgData name="Jacob, Karen (SPAC/PSPC) (elle-la / she-her)" userId="66e9cce0-e37b-4645-a907-f7690bd68dfb" providerId="ADAL" clId="{871AC57A-6E3B-4D85-BA02-8D6F5065EA89}" dt="2024-06-05T17:57:36.566" v="146"/>
          <ac:spMkLst>
            <pc:docMk/>
            <pc:sldMk cId="1903397118" sldId="5004"/>
            <ac:spMk id="420" creationId="{706670F8-D9F9-400C-B04F-D3D9EE3761B2}"/>
          </ac:spMkLst>
        </pc:spChg>
        <pc:spChg chg="mod">
          <ac:chgData name="Jacob, Karen (SPAC/PSPC) (elle-la / she-her)" userId="66e9cce0-e37b-4645-a907-f7690bd68dfb" providerId="ADAL" clId="{871AC57A-6E3B-4D85-BA02-8D6F5065EA89}" dt="2024-06-05T17:57:36.566" v="146"/>
          <ac:spMkLst>
            <pc:docMk/>
            <pc:sldMk cId="1903397118" sldId="5004"/>
            <ac:spMk id="421" creationId="{22F2DD6A-BE16-DFEE-BCF7-D2DD664C4101}"/>
          </ac:spMkLst>
        </pc:spChg>
        <pc:spChg chg="mod">
          <ac:chgData name="Jacob, Karen (SPAC/PSPC) (elle-la / she-her)" userId="66e9cce0-e37b-4645-a907-f7690bd68dfb" providerId="ADAL" clId="{871AC57A-6E3B-4D85-BA02-8D6F5065EA89}" dt="2024-06-05T17:57:36.566" v="146"/>
          <ac:spMkLst>
            <pc:docMk/>
            <pc:sldMk cId="1903397118" sldId="5004"/>
            <ac:spMk id="422" creationId="{70C573F4-DF4F-1F01-EA5A-9E5A0A947789}"/>
          </ac:spMkLst>
        </pc:spChg>
        <pc:spChg chg="mod">
          <ac:chgData name="Jacob, Karen (SPAC/PSPC) (elle-la / she-her)" userId="66e9cce0-e37b-4645-a907-f7690bd68dfb" providerId="ADAL" clId="{871AC57A-6E3B-4D85-BA02-8D6F5065EA89}" dt="2024-06-05T17:57:36.566" v="146"/>
          <ac:spMkLst>
            <pc:docMk/>
            <pc:sldMk cId="1903397118" sldId="5004"/>
            <ac:spMk id="423" creationId="{507C65E3-353E-BB81-16F9-E5FF1A4E9CA3}"/>
          </ac:spMkLst>
        </pc:spChg>
        <pc:spChg chg="mod">
          <ac:chgData name="Jacob, Karen (SPAC/PSPC) (elle-la / she-her)" userId="66e9cce0-e37b-4645-a907-f7690bd68dfb" providerId="ADAL" clId="{871AC57A-6E3B-4D85-BA02-8D6F5065EA89}" dt="2024-06-05T17:57:36.566" v="146"/>
          <ac:spMkLst>
            <pc:docMk/>
            <pc:sldMk cId="1903397118" sldId="5004"/>
            <ac:spMk id="424" creationId="{4739BC80-4515-8999-8344-132BBA3675C8}"/>
          </ac:spMkLst>
        </pc:spChg>
        <pc:spChg chg="mod">
          <ac:chgData name="Jacob, Karen (SPAC/PSPC) (elle-la / she-her)" userId="66e9cce0-e37b-4645-a907-f7690bd68dfb" providerId="ADAL" clId="{871AC57A-6E3B-4D85-BA02-8D6F5065EA89}" dt="2024-06-05T17:57:36.566" v="146"/>
          <ac:spMkLst>
            <pc:docMk/>
            <pc:sldMk cId="1903397118" sldId="5004"/>
            <ac:spMk id="425" creationId="{9754EEC3-4D23-6098-A02A-A2654628C1F3}"/>
          </ac:spMkLst>
        </pc:spChg>
        <pc:spChg chg="mod">
          <ac:chgData name="Jacob, Karen (SPAC/PSPC) (elle-la / she-her)" userId="66e9cce0-e37b-4645-a907-f7690bd68dfb" providerId="ADAL" clId="{871AC57A-6E3B-4D85-BA02-8D6F5065EA89}" dt="2024-06-05T17:57:36.566" v="146"/>
          <ac:spMkLst>
            <pc:docMk/>
            <pc:sldMk cId="1903397118" sldId="5004"/>
            <ac:spMk id="426" creationId="{8DDB8EAA-8AC0-7604-5776-72AEA67ED775}"/>
          </ac:spMkLst>
        </pc:spChg>
        <pc:spChg chg="mod">
          <ac:chgData name="Jacob, Karen (SPAC/PSPC) (elle-la / she-her)" userId="66e9cce0-e37b-4645-a907-f7690bd68dfb" providerId="ADAL" clId="{871AC57A-6E3B-4D85-BA02-8D6F5065EA89}" dt="2024-06-05T17:57:36.566" v="146"/>
          <ac:spMkLst>
            <pc:docMk/>
            <pc:sldMk cId="1903397118" sldId="5004"/>
            <ac:spMk id="427" creationId="{BD2EE1EC-4342-9775-85BD-DBC8C6A0A679}"/>
          </ac:spMkLst>
        </pc:spChg>
        <pc:spChg chg="mod">
          <ac:chgData name="Jacob, Karen (SPAC/PSPC) (elle-la / she-her)" userId="66e9cce0-e37b-4645-a907-f7690bd68dfb" providerId="ADAL" clId="{871AC57A-6E3B-4D85-BA02-8D6F5065EA89}" dt="2024-06-05T17:57:36.566" v="146"/>
          <ac:spMkLst>
            <pc:docMk/>
            <pc:sldMk cId="1903397118" sldId="5004"/>
            <ac:spMk id="428" creationId="{C8BF96CB-EE5F-C5D0-7343-FE91BF7EF8DF}"/>
          </ac:spMkLst>
        </pc:spChg>
        <pc:spChg chg="mod">
          <ac:chgData name="Jacob, Karen (SPAC/PSPC) (elle-la / she-her)" userId="66e9cce0-e37b-4645-a907-f7690bd68dfb" providerId="ADAL" clId="{871AC57A-6E3B-4D85-BA02-8D6F5065EA89}" dt="2024-06-05T17:57:36.566" v="146"/>
          <ac:spMkLst>
            <pc:docMk/>
            <pc:sldMk cId="1903397118" sldId="5004"/>
            <ac:spMk id="429" creationId="{3DC21C37-84B4-4D3D-8870-0B31D6D58468}"/>
          </ac:spMkLst>
        </pc:spChg>
        <pc:spChg chg="mod">
          <ac:chgData name="Jacob, Karen (SPAC/PSPC) (elle-la / she-her)" userId="66e9cce0-e37b-4645-a907-f7690bd68dfb" providerId="ADAL" clId="{871AC57A-6E3B-4D85-BA02-8D6F5065EA89}" dt="2024-06-05T17:57:36.566" v="146"/>
          <ac:spMkLst>
            <pc:docMk/>
            <pc:sldMk cId="1903397118" sldId="5004"/>
            <ac:spMk id="430" creationId="{1CADE64F-72BC-36B9-D47E-D73C35F65AA7}"/>
          </ac:spMkLst>
        </pc:spChg>
        <pc:spChg chg="mod">
          <ac:chgData name="Jacob, Karen (SPAC/PSPC) (elle-la / she-her)" userId="66e9cce0-e37b-4645-a907-f7690bd68dfb" providerId="ADAL" clId="{871AC57A-6E3B-4D85-BA02-8D6F5065EA89}" dt="2024-06-05T17:57:36.566" v="146"/>
          <ac:spMkLst>
            <pc:docMk/>
            <pc:sldMk cId="1903397118" sldId="5004"/>
            <ac:spMk id="431" creationId="{6D671A18-7D41-6642-9F61-C54A7DF9FC38}"/>
          </ac:spMkLst>
        </pc:spChg>
        <pc:spChg chg="mod">
          <ac:chgData name="Jacob, Karen (SPAC/PSPC) (elle-la / she-her)" userId="66e9cce0-e37b-4645-a907-f7690bd68dfb" providerId="ADAL" clId="{871AC57A-6E3B-4D85-BA02-8D6F5065EA89}" dt="2024-06-05T17:57:36.566" v="146"/>
          <ac:spMkLst>
            <pc:docMk/>
            <pc:sldMk cId="1903397118" sldId="5004"/>
            <ac:spMk id="432" creationId="{CEA2FBFB-C57B-AE17-167F-D9EF7028C75E}"/>
          </ac:spMkLst>
        </pc:spChg>
        <pc:spChg chg="mod">
          <ac:chgData name="Jacob, Karen (SPAC/PSPC) (elle-la / she-her)" userId="66e9cce0-e37b-4645-a907-f7690bd68dfb" providerId="ADAL" clId="{871AC57A-6E3B-4D85-BA02-8D6F5065EA89}" dt="2024-06-05T17:57:36.566" v="146"/>
          <ac:spMkLst>
            <pc:docMk/>
            <pc:sldMk cId="1903397118" sldId="5004"/>
            <ac:spMk id="433" creationId="{774E6F06-1ECD-D017-E602-ECD947392526}"/>
          </ac:spMkLst>
        </pc:spChg>
        <pc:spChg chg="mod">
          <ac:chgData name="Jacob, Karen (SPAC/PSPC) (elle-la / she-her)" userId="66e9cce0-e37b-4645-a907-f7690bd68dfb" providerId="ADAL" clId="{871AC57A-6E3B-4D85-BA02-8D6F5065EA89}" dt="2024-06-05T17:57:36.566" v="146"/>
          <ac:spMkLst>
            <pc:docMk/>
            <pc:sldMk cId="1903397118" sldId="5004"/>
            <ac:spMk id="434" creationId="{23E79F64-CE0F-B583-1D2E-32AE9002121C}"/>
          </ac:spMkLst>
        </pc:spChg>
        <pc:spChg chg="mod">
          <ac:chgData name="Jacob, Karen (SPAC/PSPC) (elle-la / she-her)" userId="66e9cce0-e37b-4645-a907-f7690bd68dfb" providerId="ADAL" clId="{871AC57A-6E3B-4D85-BA02-8D6F5065EA89}" dt="2024-06-05T17:57:36.566" v="146"/>
          <ac:spMkLst>
            <pc:docMk/>
            <pc:sldMk cId="1903397118" sldId="5004"/>
            <ac:spMk id="435" creationId="{2A1513E5-EE06-09F3-7542-CBF238883836}"/>
          </ac:spMkLst>
        </pc:spChg>
        <pc:spChg chg="mod">
          <ac:chgData name="Jacob, Karen (SPAC/PSPC) (elle-la / she-her)" userId="66e9cce0-e37b-4645-a907-f7690bd68dfb" providerId="ADAL" clId="{871AC57A-6E3B-4D85-BA02-8D6F5065EA89}" dt="2024-06-05T17:57:36.566" v="146"/>
          <ac:spMkLst>
            <pc:docMk/>
            <pc:sldMk cId="1903397118" sldId="5004"/>
            <ac:spMk id="436" creationId="{2F291647-9054-E103-D387-1FF611A2EC22}"/>
          </ac:spMkLst>
        </pc:spChg>
        <pc:spChg chg="mod">
          <ac:chgData name="Jacob, Karen (SPAC/PSPC) (elle-la / she-her)" userId="66e9cce0-e37b-4645-a907-f7690bd68dfb" providerId="ADAL" clId="{871AC57A-6E3B-4D85-BA02-8D6F5065EA89}" dt="2024-06-05T17:57:36.566" v="146"/>
          <ac:spMkLst>
            <pc:docMk/>
            <pc:sldMk cId="1903397118" sldId="5004"/>
            <ac:spMk id="437" creationId="{10930654-5913-1124-DCF0-AA18BC2B28E5}"/>
          </ac:spMkLst>
        </pc:spChg>
        <pc:spChg chg="add mod">
          <ac:chgData name="Jacob, Karen (SPAC/PSPC) (elle-la / she-her)" userId="66e9cce0-e37b-4645-a907-f7690bd68dfb" providerId="ADAL" clId="{871AC57A-6E3B-4D85-BA02-8D6F5065EA89}" dt="2024-06-05T17:57:36.566" v="146"/>
          <ac:spMkLst>
            <pc:docMk/>
            <pc:sldMk cId="1903397118" sldId="5004"/>
            <ac:spMk id="438" creationId="{2DE5F08E-29BE-2F61-31DC-7D58A658F1A9}"/>
          </ac:spMkLst>
        </pc:spChg>
        <pc:spChg chg="mod">
          <ac:chgData name="Jacob, Karen (SPAC/PSPC) (elle-la / she-her)" userId="66e9cce0-e37b-4645-a907-f7690bd68dfb" providerId="ADAL" clId="{871AC57A-6E3B-4D85-BA02-8D6F5065EA89}" dt="2024-06-05T17:57:36.566" v="146"/>
          <ac:spMkLst>
            <pc:docMk/>
            <pc:sldMk cId="1903397118" sldId="5004"/>
            <ac:spMk id="441" creationId="{1F4190D5-0A9C-64F5-E6F7-292F12C864B5}"/>
          </ac:spMkLst>
        </pc:spChg>
        <pc:spChg chg="mod">
          <ac:chgData name="Jacob, Karen (SPAC/PSPC) (elle-la / she-her)" userId="66e9cce0-e37b-4645-a907-f7690bd68dfb" providerId="ADAL" clId="{871AC57A-6E3B-4D85-BA02-8D6F5065EA89}" dt="2024-06-05T17:57:36.566" v="146"/>
          <ac:spMkLst>
            <pc:docMk/>
            <pc:sldMk cId="1903397118" sldId="5004"/>
            <ac:spMk id="442" creationId="{185DAD69-88CC-B0B9-14AD-9491ABD4B19A}"/>
          </ac:spMkLst>
        </pc:spChg>
        <pc:spChg chg="mod">
          <ac:chgData name="Jacob, Karen (SPAC/PSPC) (elle-la / she-her)" userId="66e9cce0-e37b-4645-a907-f7690bd68dfb" providerId="ADAL" clId="{871AC57A-6E3B-4D85-BA02-8D6F5065EA89}" dt="2024-06-05T17:57:36.566" v="146"/>
          <ac:spMkLst>
            <pc:docMk/>
            <pc:sldMk cId="1903397118" sldId="5004"/>
            <ac:spMk id="443" creationId="{453F8936-09E6-0B41-342C-95821CB950BD}"/>
          </ac:spMkLst>
        </pc:spChg>
        <pc:spChg chg="mod">
          <ac:chgData name="Jacob, Karen (SPAC/PSPC) (elle-la / she-her)" userId="66e9cce0-e37b-4645-a907-f7690bd68dfb" providerId="ADAL" clId="{871AC57A-6E3B-4D85-BA02-8D6F5065EA89}" dt="2024-06-05T17:57:36.566" v="146"/>
          <ac:spMkLst>
            <pc:docMk/>
            <pc:sldMk cId="1903397118" sldId="5004"/>
            <ac:spMk id="444" creationId="{C8740702-FD8E-981C-BBDE-0B9DD50C90BF}"/>
          </ac:spMkLst>
        </pc:spChg>
        <pc:spChg chg="mod">
          <ac:chgData name="Jacob, Karen (SPAC/PSPC) (elle-la / she-her)" userId="66e9cce0-e37b-4645-a907-f7690bd68dfb" providerId="ADAL" clId="{871AC57A-6E3B-4D85-BA02-8D6F5065EA89}" dt="2024-06-05T17:57:36.566" v="146"/>
          <ac:spMkLst>
            <pc:docMk/>
            <pc:sldMk cId="1903397118" sldId="5004"/>
            <ac:spMk id="445" creationId="{81347A78-1DF1-0AA7-73C7-B8E4F7581DF7}"/>
          </ac:spMkLst>
        </pc:spChg>
        <pc:spChg chg="add mod">
          <ac:chgData name="Jacob, Karen (SPAC/PSPC) (elle-la / she-her)" userId="66e9cce0-e37b-4645-a907-f7690bd68dfb" providerId="ADAL" clId="{871AC57A-6E3B-4D85-BA02-8D6F5065EA89}" dt="2024-06-05T17:57:36.566" v="146"/>
          <ac:spMkLst>
            <pc:docMk/>
            <pc:sldMk cId="1903397118" sldId="5004"/>
            <ac:spMk id="446" creationId="{EBB694C5-6E0A-CB29-0BD4-3274CC17BB0D}"/>
          </ac:spMkLst>
        </pc:spChg>
        <pc:grpChg chg="add mod">
          <ac:chgData name="Jacob, Karen (SPAC/PSPC) (elle-la / she-her)" userId="66e9cce0-e37b-4645-a907-f7690bd68dfb" providerId="ADAL" clId="{871AC57A-6E3B-4D85-BA02-8D6F5065EA89}" dt="2024-06-05T17:57:36.566" v="146"/>
          <ac:grpSpMkLst>
            <pc:docMk/>
            <pc:sldMk cId="1903397118" sldId="5004"/>
            <ac:grpSpMk id="4" creationId="{2D9CC1AA-2B60-5726-2572-F2BAB00E0AEC}"/>
          </ac:grpSpMkLst>
        </pc:grpChg>
        <pc:grpChg chg="add mod">
          <ac:chgData name="Jacob, Karen (SPAC/PSPC) (elle-la / she-her)" userId="66e9cce0-e37b-4645-a907-f7690bd68dfb" providerId="ADAL" clId="{871AC57A-6E3B-4D85-BA02-8D6F5065EA89}" dt="2024-06-05T17:57:36.566" v="146"/>
          <ac:grpSpMkLst>
            <pc:docMk/>
            <pc:sldMk cId="1903397118" sldId="5004"/>
            <ac:grpSpMk id="7" creationId="{7394FCD1-7545-C292-695B-16209F7B9C92}"/>
          </ac:grpSpMkLst>
        </pc:grpChg>
        <pc:grpChg chg="add mod">
          <ac:chgData name="Jacob, Karen (SPAC/PSPC) (elle-la / she-her)" userId="66e9cce0-e37b-4645-a907-f7690bd68dfb" providerId="ADAL" clId="{871AC57A-6E3B-4D85-BA02-8D6F5065EA89}" dt="2024-06-05T17:57:36.566" v="146"/>
          <ac:grpSpMkLst>
            <pc:docMk/>
            <pc:sldMk cId="1903397118" sldId="5004"/>
            <ac:grpSpMk id="12" creationId="{03CC5851-A15F-4B14-72BA-369E1483E174}"/>
          </ac:grpSpMkLst>
        </pc:grpChg>
        <pc:grpChg chg="mod">
          <ac:chgData name="Jacob, Karen (SPAC/PSPC) (elle-la / she-her)" userId="66e9cce0-e37b-4645-a907-f7690bd68dfb" providerId="ADAL" clId="{871AC57A-6E3B-4D85-BA02-8D6F5065EA89}" dt="2024-06-05T17:57:36.566" v="146"/>
          <ac:grpSpMkLst>
            <pc:docMk/>
            <pc:sldMk cId="1903397118" sldId="5004"/>
            <ac:grpSpMk id="14" creationId="{7FD756D3-C161-8437-ACAB-2C780A0240BC}"/>
          </ac:grpSpMkLst>
        </pc:grpChg>
        <pc:grpChg chg="mod">
          <ac:chgData name="Jacob, Karen (SPAC/PSPC) (elle-la / she-her)" userId="66e9cce0-e37b-4645-a907-f7690bd68dfb" providerId="ADAL" clId="{871AC57A-6E3B-4D85-BA02-8D6F5065EA89}" dt="2024-06-05T17:57:36.566" v="146"/>
          <ac:grpSpMkLst>
            <pc:docMk/>
            <pc:sldMk cId="1903397118" sldId="5004"/>
            <ac:grpSpMk id="15" creationId="{C271B44C-093C-96C5-9BD0-841DE024B0C5}"/>
          </ac:grpSpMkLst>
        </pc:grpChg>
        <pc:grpChg chg="mod">
          <ac:chgData name="Jacob, Karen (SPAC/PSPC) (elle-la / she-her)" userId="66e9cce0-e37b-4645-a907-f7690bd68dfb" providerId="ADAL" clId="{871AC57A-6E3B-4D85-BA02-8D6F5065EA89}" dt="2024-06-05T17:57:36.566" v="146"/>
          <ac:grpSpMkLst>
            <pc:docMk/>
            <pc:sldMk cId="1903397118" sldId="5004"/>
            <ac:grpSpMk id="16" creationId="{712B8CD1-D44A-EA92-0EFB-EB10486681B1}"/>
          </ac:grpSpMkLst>
        </pc:grpChg>
        <pc:grpChg chg="mod">
          <ac:chgData name="Jacob, Karen (SPAC/PSPC) (elle-la / she-her)" userId="66e9cce0-e37b-4645-a907-f7690bd68dfb" providerId="ADAL" clId="{871AC57A-6E3B-4D85-BA02-8D6F5065EA89}" dt="2024-06-05T17:57:36.566" v="146"/>
          <ac:grpSpMkLst>
            <pc:docMk/>
            <pc:sldMk cId="1903397118" sldId="5004"/>
            <ac:grpSpMk id="17" creationId="{413D1400-D5B9-BC9B-4236-436DAD917E3F}"/>
          </ac:grpSpMkLst>
        </pc:grpChg>
        <pc:grpChg chg="mod">
          <ac:chgData name="Jacob, Karen (SPAC/PSPC) (elle-la / she-her)" userId="66e9cce0-e37b-4645-a907-f7690bd68dfb" providerId="ADAL" clId="{871AC57A-6E3B-4D85-BA02-8D6F5065EA89}" dt="2024-06-05T17:57:36.566" v="146"/>
          <ac:grpSpMkLst>
            <pc:docMk/>
            <pc:sldMk cId="1903397118" sldId="5004"/>
            <ac:grpSpMk id="25" creationId="{88C61A2C-F87A-0382-CAD6-DD4038C8D14F}"/>
          </ac:grpSpMkLst>
        </pc:grpChg>
        <pc:grpChg chg="mod">
          <ac:chgData name="Jacob, Karen (SPAC/PSPC) (elle-la / she-her)" userId="66e9cce0-e37b-4645-a907-f7690bd68dfb" providerId="ADAL" clId="{871AC57A-6E3B-4D85-BA02-8D6F5065EA89}" dt="2024-06-05T17:57:36.566" v="146"/>
          <ac:grpSpMkLst>
            <pc:docMk/>
            <pc:sldMk cId="1903397118" sldId="5004"/>
            <ac:grpSpMk id="68" creationId="{8D012504-8C0C-F7BC-7281-613E0DDC1A79}"/>
          </ac:grpSpMkLst>
        </pc:grpChg>
        <pc:grpChg chg="mod">
          <ac:chgData name="Jacob, Karen (SPAC/PSPC) (elle-la / she-her)" userId="66e9cce0-e37b-4645-a907-f7690bd68dfb" providerId="ADAL" clId="{871AC57A-6E3B-4D85-BA02-8D6F5065EA89}" dt="2024-06-05T17:57:36.566" v="146"/>
          <ac:grpSpMkLst>
            <pc:docMk/>
            <pc:sldMk cId="1903397118" sldId="5004"/>
            <ac:grpSpMk id="112" creationId="{89E4DEA2-F517-1167-DD55-DC87F80355BE}"/>
          </ac:grpSpMkLst>
        </pc:grpChg>
        <pc:grpChg chg="mod">
          <ac:chgData name="Jacob, Karen (SPAC/PSPC) (elle-la / she-her)" userId="66e9cce0-e37b-4645-a907-f7690bd68dfb" providerId="ADAL" clId="{871AC57A-6E3B-4D85-BA02-8D6F5065EA89}" dt="2024-06-05T17:57:36.566" v="146"/>
          <ac:grpSpMkLst>
            <pc:docMk/>
            <pc:sldMk cId="1903397118" sldId="5004"/>
            <ac:grpSpMk id="115" creationId="{383D478E-2B5D-E0B3-FEDC-C91C75EAFEAF}"/>
          </ac:grpSpMkLst>
        </pc:grpChg>
        <pc:grpChg chg="mod">
          <ac:chgData name="Jacob, Karen (SPAC/PSPC) (elle-la / she-her)" userId="66e9cce0-e37b-4645-a907-f7690bd68dfb" providerId="ADAL" clId="{871AC57A-6E3B-4D85-BA02-8D6F5065EA89}" dt="2024-06-05T17:57:36.566" v="146"/>
          <ac:grpSpMkLst>
            <pc:docMk/>
            <pc:sldMk cId="1903397118" sldId="5004"/>
            <ac:grpSpMk id="117" creationId="{237CA0D0-4998-8009-AFFD-CD8FCD60E6D9}"/>
          </ac:grpSpMkLst>
        </pc:grpChg>
        <pc:grpChg chg="mod">
          <ac:chgData name="Jacob, Karen (SPAC/PSPC) (elle-la / she-her)" userId="66e9cce0-e37b-4645-a907-f7690bd68dfb" providerId="ADAL" clId="{871AC57A-6E3B-4D85-BA02-8D6F5065EA89}" dt="2024-06-05T17:57:36.566" v="146"/>
          <ac:grpSpMkLst>
            <pc:docMk/>
            <pc:sldMk cId="1903397118" sldId="5004"/>
            <ac:grpSpMk id="120" creationId="{6BDB1558-95C3-4457-5F34-8F850FE05AEA}"/>
          </ac:grpSpMkLst>
        </pc:grpChg>
        <pc:grpChg chg="add mod">
          <ac:chgData name="Jacob, Karen (SPAC/PSPC) (elle-la / she-her)" userId="66e9cce0-e37b-4645-a907-f7690bd68dfb" providerId="ADAL" clId="{871AC57A-6E3B-4D85-BA02-8D6F5065EA89}" dt="2024-06-05T17:57:36.566" v="146"/>
          <ac:grpSpMkLst>
            <pc:docMk/>
            <pc:sldMk cId="1903397118" sldId="5004"/>
            <ac:grpSpMk id="165" creationId="{04BFAFDE-390B-7E70-D97E-DA9E5B2A24FD}"/>
          </ac:grpSpMkLst>
        </pc:grpChg>
        <pc:grpChg chg="mod">
          <ac:chgData name="Jacob, Karen (SPAC/PSPC) (elle-la / she-her)" userId="66e9cce0-e37b-4645-a907-f7690bd68dfb" providerId="ADAL" clId="{871AC57A-6E3B-4D85-BA02-8D6F5065EA89}" dt="2024-06-05T17:57:36.566" v="146"/>
          <ac:grpSpMkLst>
            <pc:docMk/>
            <pc:sldMk cId="1903397118" sldId="5004"/>
            <ac:grpSpMk id="167" creationId="{11C2B998-6440-5A37-8D1C-FE12149AB55C}"/>
          </ac:grpSpMkLst>
        </pc:grpChg>
        <pc:grpChg chg="mod">
          <ac:chgData name="Jacob, Karen (SPAC/PSPC) (elle-la / she-her)" userId="66e9cce0-e37b-4645-a907-f7690bd68dfb" providerId="ADAL" clId="{871AC57A-6E3B-4D85-BA02-8D6F5065EA89}" dt="2024-06-05T17:57:36.566" v="146"/>
          <ac:grpSpMkLst>
            <pc:docMk/>
            <pc:sldMk cId="1903397118" sldId="5004"/>
            <ac:grpSpMk id="179" creationId="{4FC7A3C4-F44A-005A-1C3E-46375D412EA7}"/>
          </ac:grpSpMkLst>
        </pc:grpChg>
        <pc:grpChg chg="mod">
          <ac:chgData name="Jacob, Karen (SPAC/PSPC) (elle-la / she-her)" userId="66e9cce0-e37b-4645-a907-f7690bd68dfb" providerId="ADAL" clId="{871AC57A-6E3B-4D85-BA02-8D6F5065EA89}" dt="2024-06-05T17:57:36.566" v="146"/>
          <ac:grpSpMkLst>
            <pc:docMk/>
            <pc:sldMk cId="1903397118" sldId="5004"/>
            <ac:grpSpMk id="180" creationId="{70E900CE-1EC1-522F-4003-B2A235188E80}"/>
          </ac:grpSpMkLst>
        </pc:grpChg>
        <pc:grpChg chg="mod">
          <ac:chgData name="Jacob, Karen (SPAC/PSPC) (elle-la / she-her)" userId="66e9cce0-e37b-4645-a907-f7690bd68dfb" providerId="ADAL" clId="{871AC57A-6E3B-4D85-BA02-8D6F5065EA89}" dt="2024-06-05T17:57:36.566" v="146"/>
          <ac:grpSpMkLst>
            <pc:docMk/>
            <pc:sldMk cId="1903397118" sldId="5004"/>
            <ac:grpSpMk id="181" creationId="{DD4B14B2-FBBC-58CD-9BEA-E7DAF61448B0}"/>
          </ac:grpSpMkLst>
        </pc:grpChg>
        <pc:grpChg chg="mod">
          <ac:chgData name="Jacob, Karen (SPAC/PSPC) (elle-la / she-her)" userId="66e9cce0-e37b-4645-a907-f7690bd68dfb" providerId="ADAL" clId="{871AC57A-6E3B-4D85-BA02-8D6F5065EA89}" dt="2024-06-05T17:57:36.566" v="146"/>
          <ac:grpSpMkLst>
            <pc:docMk/>
            <pc:sldMk cId="1903397118" sldId="5004"/>
            <ac:grpSpMk id="187" creationId="{B432C763-4712-6301-D37D-899181F147A9}"/>
          </ac:grpSpMkLst>
        </pc:grpChg>
        <pc:grpChg chg="mod">
          <ac:chgData name="Jacob, Karen (SPAC/PSPC) (elle-la / she-her)" userId="66e9cce0-e37b-4645-a907-f7690bd68dfb" providerId="ADAL" clId="{871AC57A-6E3B-4D85-BA02-8D6F5065EA89}" dt="2024-06-05T17:57:36.566" v="146"/>
          <ac:grpSpMkLst>
            <pc:docMk/>
            <pc:sldMk cId="1903397118" sldId="5004"/>
            <ac:grpSpMk id="230" creationId="{F0F47009-54B2-967A-3448-CCB09A2C7441}"/>
          </ac:grpSpMkLst>
        </pc:grpChg>
        <pc:grpChg chg="mod">
          <ac:chgData name="Jacob, Karen (SPAC/PSPC) (elle-la / she-her)" userId="66e9cce0-e37b-4645-a907-f7690bd68dfb" providerId="ADAL" clId="{871AC57A-6E3B-4D85-BA02-8D6F5065EA89}" dt="2024-06-05T17:57:36.566" v="146"/>
          <ac:grpSpMkLst>
            <pc:docMk/>
            <pc:sldMk cId="1903397118" sldId="5004"/>
            <ac:grpSpMk id="274" creationId="{E18CC530-5A33-1961-B32D-669D857EC675}"/>
          </ac:grpSpMkLst>
        </pc:grpChg>
        <pc:grpChg chg="add mod">
          <ac:chgData name="Jacob, Karen (SPAC/PSPC) (elle-la / she-her)" userId="66e9cce0-e37b-4645-a907-f7690bd68dfb" providerId="ADAL" clId="{871AC57A-6E3B-4D85-BA02-8D6F5065EA89}" dt="2024-06-05T17:57:36.566" v="146"/>
          <ac:grpSpMkLst>
            <pc:docMk/>
            <pc:sldMk cId="1903397118" sldId="5004"/>
            <ac:grpSpMk id="319" creationId="{FC3607F8-E441-3661-16E0-38630D0E81E6}"/>
          </ac:grpSpMkLst>
        </pc:grpChg>
        <pc:grpChg chg="mod">
          <ac:chgData name="Jacob, Karen (SPAC/PSPC) (elle-la / she-her)" userId="66e9cce0-e37b-4645-a907-f7690bd68dfb" providerId="ADAL" clId="{871AC57A-6E3B-4D85-BA02-8D6F5065EA89}" dt="2024-06-05T17:57:36.566" v="146"/>
          <ac:grpSpMkLst>
            <pc:docMk/>
            <pc:sldMk cId="1903397118" sldId="5004"/>
            <ac:grpSpMk id="321" creationId="{7A532255-817D-6D74-3576-14BCDDDD1BF3}"/>
          </ac:grpSpMkLst>
        </pc:grpChg>
        <pc:grpChg chg="mod">
          <ac:chgData name="Jacob, Karen (SPAC/PSPC) (elle-la / she-her)" userId="66e9cce0-e37b-4645-a907-f7690bd68dfb" providerId="ADAL" clId="{871AC57A-6E3B-4D85-BA02-8D6F5065EA89}" dt="2024-06-05T17:57:36.566" v="146"/>
          <ac:grpSpMkLst>
            <pc:docMk/>
            <pc:sldMk cId="1903397118" sldId="5004"/>
            <ac:grpSpMk id="322" creationId="{F07A4498-120E-E487-110B-4D1978C51493}"/>
          </ac:grpSpMkLst>
        </pc:grpChg>
        <pc:grpChg chg="mod">
          <ac:chgData name="Jacob, Karen (SPAC/PSPC) (elle-la / she-her)" userId="66e9cce0-e37b-4645-a907-f7690bd68dfb" providerId="ADAL" clId="{871AC57A-6E3B-4D85-BA02-8D6F5065EA89}" dt="2024-06-05T17:57:36.566" v="146"/>
          <ac:grpSpMkLst>
            <pc:docMk/>
            <pc:sldMk cId="1903397118" sldId="5004"/>
            <ac:grpSpMk id="323" creationId="{A2B5BB8F-40A0-67AE-1B72-BEAF1AB39F63}"/>
          </ac:grpSpMkLst>
        </pc:grpChg>
        <pc:grpChg chg="mod">
          <ac:chgData name="Jacob, Karen (SPAC/PSPC) (elle-la / she-her)" userId="66e9cce0-e37b-4645-a907-f7690bd68dfb" providerId="ADAL" clId="{871AC57A-6E3B-4D85-BA02-8D6F5065EA89}" dt="2024-06-05T17:57:36.566" v="146"/>
          <ac:grpSpMkLst>
            <pc:docMk/>
            <pc:sldMk cId="1903397118" sldId="5004"/>
            <ac:grpSpMk id="337" creationId="{D494F48A-A8AB-E8DB-936B-7697C8E51D8C}"/>
          </ac:grpSpMkLst>
        </pc:grpChg>
        <pc:grpChg chg="mod">
          <ac:chgData name="Jacob, Karen (SPAC/PSPC) (elle-la / she-her)" userId="66e9cce0-e37b-4645-a907-f7690bd68dfb" providerId="ADAL" clId="{871AC57A-6E3B-4D85-BA02-8D6F5065EA89}" dt="2024-06-05T17:57:36.566" v="146"/>
          <ac:grpSpMkLst>
            <pc:docMk/>
            <pc:sldMk cId="1903397118" sldId="5004"/>
            <ac:grpSpMk id="348" creationId="{72FF984A-D969-2763-B4C3-6D2D95F74EF5}"/>
          </ac:grpSpMkLst>
        </pc:grpChg>
        <pc:grpChg chg="mod">
          <ac:chgData name="Jacob, Karen (SPAC/PSPC) (elle-la / she-her)" userId="66e9cce0-e37b-4645-a907-f7690bd68dfb" providerId="ADAL" clId="{871AC57A-6E3B-4D85-BA02-8D6F5065EA89}" dt="2024-06-05T17:57:36.566" v="146"/>
          <ac:grpSpMkLst>
            <pc:docMk/>
            <pc:sldMk cId="1903397118" sldId="5004"/>
            <ac:grpSpMk id="352" creationId="{92ACCCB7-25AF-AE44-7D97-3C5F056E7C1C}"/>
          </ac:grpSpMkLst>
        </pc:grpChg>
        <pc:grpChg chg="mod">
          <ac:chgData name="Jacob, Karen (SPAC/PSPC) (elle-la / she-her)" userId="66e9cce0-e37b-4645-a907-f7690bd68dfb" providerId="ADAL" clId="{871AC57A-6E3B-4D85-BA02-8D6F5065EA89}" dt="2024-06-05T17:57:36.566" v="146"/>
          <ac:grpSpMkLst>
            <pc:docMk/>
            <pc:sldMk cId="1903397118" sldId="5004"/>
            <ac:grpSpMk id="395" creationId="{099F3FE8-2AF6-5637-9630-35D8CD21B8AF}"/>
          </ac:grpSpMkLst>
        </pc:grpChg>
        <pc:grpChg chg="add mod">
          <ac:chgData name="Jacob, Karen (SPAC/PSPC) (elle-la / she-her)" userId="66e9cce0-e37b-4645-a907-f7690bd68dfb" providerId="ADAL" clId="{871AC57A-6E3B-4D85-BA02-8D6F5065EA89}" dt="2024-06-05T17:57:36.566" v="146"/>
          <ac:grpSpMkLst>
            <pc:docMk/>
            <pc:sldMk cId="1903397118" sldId="5004"/>
            <ac:grpSpMk id="439" creationId="{8FFAF5C0-F9EF-1403-6199-388C13B6ECAD}"/>
          </ac:grpSpMkLst>
        </pc:grpChg>
        <pc:grpChg chg="mod">
          <ac:chgData name="Jacob, Karen (SPAC/PSPC) (elle-la / she-her)" userId="66e9cce0-e37b-4645-a907-f7690bd68dfb" providerId="ADAL" clId="{871AC57A-6E3B-4D85-BA02-8D6F5065EA89}" dt="2024-06-05T17:57:36.566" v="146"/>
          <ac:grpSpMkLst>
            <pc:docMk/>
            <pc:sldMk cId="1903397118" sldId="5004"/>
            <ac:grpSpMk id="440" creationId="{18660168-DCBF-3C12-7720-62B8AC2B9068}"/>
          </ac:grpSpMkLst>
        </pc:grpChg>
        <pc:picChg chg="mod">
          <ac:chgData name="Jacob, Karen (SPAC/PSPC) (elle-la / she-her)" userId="66e9cce0-e37b-4645-a907-f7690bd68dfb" providerId="ADAL" clId="{871AC57A-6E3B-4D85-BA02-8D6F5065EA89}" dt="2024-06-05T17:57:36.566" v="146"/>
          <ac:picMkLst>
            <pc:docMk/>
            <pc:sldMk cId="1903397118" sldId="5004"/>
            <ac:picMk id="9" creationId="{3736A36E-558A-D335-E7CD-AE1870106011}"/>
          </ac:picMkLst>
        </pc:picChg>
        <pc:picChg chg="mod">
          <ac:chgData name="Jacob, Karen (SPAC/PSPC) (elle-la / she-her)" userId="66e9cce0-e37b-4645-a907-f7690bd68dfb" providerId="ADAL" clId="{871AC57A-6E3B-4D85-BA02-8D6F5065EA89}" dt="2024-06-05T17:57:36.566" v="146"/>
          <ac:picMkLst>
            <pc:docMk/>
            <pc:sldMk cId="1903397118" sldId="5004"/>
            <ac:picMk id="18" creationId="{F9BD9803-B94E-CE14-6EC5-706E35CA735F}"/>
          </ac:picMkLst>
        </pc:picChg>
        <pc:picChg chg="mod">
          <ac:chgData name="Jacob, Karen (SPAC/PSPC) (elle-la / she-her)" userId="66e9cce0-e37b-4645-a907-f7690bd68dfb" providerId="ADAL" clId="{871AC57A-6E3B-4D85-BA02-8D6F5065EA89}" dt="2024-06-05T17:57:36.566" v="146"/>
          <ac:picMkLst>
            <pc:docMk/>
            <pc:sldMk cId="1903397118" sldId="5004"/>
            <ac:picMk id="19" creationId="{AC4D6478-3C86-778C-5FA6-E69AE66CE5CC}"/>
          </ac:picMkLst>
        </pc:picChg>
        <pc:picChg chg="mod">
          <ac:chgData name="Jacob, Karen (SPAC/PSPC) (elle-la / she-her)" userId="66e9cce0-e37b-4645-a907-f7690bd68dfb" providerId="ADAL" clId="{871AC57A-6E3B-4D85-BA02-8D6F5065EA89}" dt="2024-06-05T17:57:36.566" v="146"/>
          <ac:picMkLst>
            <pc:docMk/>
            <pc:sldMk cId="1903397118" sldId="5004"/>
            <ac:picMk id="27" creationId="{09E8D147-CFA8-9093-E5A6-90E53D03B13A}"/>
          </ac:picMkLst>
        </pc:picChg>
        <pc:picChg chg="mod">
          <ac:chgData name="Jacob, Karen (SPAC/PSPC) (elle-la / she-her)" userId="66e9cce0-e37b-4645-a907-f7690bd68dfb" providerId="ADAL" clId="{871AC57A-6E3B-4D85-BA02-8D6F5065EA89}" dt="2024-06-05T17:57:36.566" v="146"/>
          <ac:picMkLst>
            <pc:docMk/>
            <pc:sldMk cId="1903397118" sldId="5004"/>
            <ac:picMk id="70" creationId="{3309BBCB-A39A-4075-C868-E7AE6926A7CB}"/>
          </ac:picMkLst>
        </pc:picChg>
        <pc:picChg chg="mod">
          <ac:chgData name="Jacob, Karen (SPAC/PSPC) (elle-la / she-her)" userId="66e9cce0-e37b-4645-a907-f7690bd68dfb" providerId="ADAL" clId="{871AC57A-6E3B-4D85-BA02-8D6F5065EA89}" dt="2024-06-05T17:57:36.566" v="146"/>
          <ac:picMkLst>
            <pc:docMk/>
            <pc:sldMk cId="1903397118" sldId="5004"/>
            <ac:picMk id="114" creationId="{0537EB5B-BC38-9D09-D933-7391546CFDFD}"/>
          </ac:picMkLst>
        </pc:picChg>
        <pc:picChg chg="mod">
          <ac:chgData name="Jacob, Karen (SPAC/PSPC) (elle-la / she-her)" userId="66e9cce0-e37b-4645-a907-f7690bd68dfb" providerId="ADAL" clId="{871AC57A-6E3B-4D85-BA02-8D6F5065EA89}" dt="2024-06-05T17:57:36.566" v="146"/>
          <ac:picMkLst>
            <pc:docMk/>
            <pc:sldMk cId="1903397118" sldId="5004"/>
            <ac:picMk id="168" creationId="{2D9D23A9-06BF-DDD4-36A1-3B4082026B0B}"/>
          </ac:picMkLst>
        </pc:picChg>
        <pc:picChg chg="mod">
          <ac:chgData name="Jacob, Karen (SPAC/PSPC) (elle-la / she-her)" userId="66e9cce0-e37b-4645-a907-f7690bd68dfb" providerId="ADAL" clId="{871AC57A-6E3B-4D85-BA02-8D6F5065EA89}" dt="2024-06-05T17:57:36.566" v="146"/>
          <ac:picMkLst>
            <pc:docMk/>
            <pc:sldMk cId="1903397118" sldId="5004"/>
            <ac:picMk id="169" creationId="{1E220B03-1EA0-9D95-40C4-602E8361E5B0}"/>
          </ac:picMkLst>
        </pc:picChg>
        <pc:picChg chg="mod">
          <ac:chgData name="Jacob, Karen (SPAC/PSPC) (elle-la / she-her)" userId="66e9cce0-e37b-4645-a907-f7690bd68dfb" providerId="ADAL" clId="{871AC57A-6E3B-4D85-BA02-8D6F5065EA89}" dt="2024-06-05T17:57:36.566" v="146"/>
          <ac:picMkLst>
            <pc:docMk/>
            <pc:sldMk cId="1903397118" sldId="5004"/>
            <ac:picMk id="170" creationId="{78205BB3-CDC0-D687-4A1A-5F1DB09A41EB}"/>
          </ac:picMkLst>
        </pc:picChg>
        <pc:picChg chg="mod">
          <ac:chgData name="Jacob, Karen (SPAC/PSPC) (elle-la / she-her)" userId="66e9cce0-e37b-4645-a907-f7690bd68dfb" providerId="ADAL" clId="{871AC57A-6E3B-4D85-BA02-8D6F5065EA89}" dt="2024-06-05T17:57:36.566" v="146"/>
          <ac:picMkLst>
            <pc:docMk/>
            <pc:sldMk cId="1903397118" sldId="5004"/>
            <ac:picMk id="171" creationId="{BD7DB332-DF09-EFAA-FDAD-947636303D6C}"/>
          </ac:picMkLst>
        </pc:picChg>
        <pc:picChg chg="mod">
          <ac:chgData name="Jacob, Karen (SPAC/PSPC) (elle-la / she-her)" userId="66e9cce0-e37b-4645-a907-f7690bd68dfb" providerId="ADAL" clId="{871AC57A-6E3B-4D85-BA02-8D6F5065EA89}" dt="2024-06-05T17:57:36.566" v="146"/>
          <ac:picMkLst>
            <pc:docMk/>
            <pc:sldMk cId="1903397118" sldId="5004"/>
            <ac:picMk id="172" creationId="{AB370EF2-83EB-25EF-0F86-00B381C5CD8E}"/>
          </ac:picMkLst>
        </pc:picChg>
        <pc:picChg chg="mod">
          <ac:chgData name="Jacob, Karen (SPAC/PSPC) (elle-la / she-her)" userId="66e9cce0-e37b-4645-a907-f7690bd68dfb" providerId="ADAL" clId="{871AC57A-6E3B-4D85-BA02-8D6F5065EA89}" dt="2024-06-05T17:57:36.566" v="146"/>
          <ac:picMkLst>
            <pc:docMk/>
            <pc:sldMk cId="1903397118" sldId="5004"/>
            <ac:picMk id="173" creationId="{7E320A76-4260-BE23-C913-A45F27D399BC}"/>
          </ac:picMkLst>
        </pc:picChg>
        <pc:picChg chg="mod">
          <ac:chgData name="Jacob, Karen (SPAC/PSPC) (elle-la / she-her)" userId="66e9cce0-e37b-4645-a907-f7690bd68dfb" providerId="ADAL" clId="{871AC57A-6E3B-4D85-BA02-8D6F5065EA89}" dt="2024-06-05T17:57:36.566" v="146"/>
          <ac:picMkLst>
            <pc:docMk/>
            <pc:sldMk cId="1903397118" sldId="5004"/>
            <ac:picMk id="174" creationId="{3A1BF91D-E0B1-7B2D-ED10-D16A08F50985}"/>
          </ac:picMkLst>
        </pc:picChg>
        <pc:picChg chg="mod">
          <ac:chgData name="Jacob, Karen (SPAC/PSPC) (elle-la / she-her)" userId="66e9cce0-e37b-4645-a907-f7690bd68dfb" providerId="ADAL" clId="{871AC57A-6E3B-4D85-BA02-8D6F5065EA89}" dt="2024-06-05T17:57:36.566" v="146"/>
          <ac:picMkLst>
            <pc:docMk/>
            <pc:sldMk cId="1903397118" sldId="5004"/>
            <ac:picMk id="175" creationId="{FD4AD78C-88E8-1E6B-1ECA-417E8CE07B3F}"/>
          </ac:picMkLst>
        </pc:picChg>
        <pc:picChg chg="mod">
          <ac:chgData name="Jacob, Karen (SPAC/PSPC) (elle-la / she-her)" userId="66e9cce0-e37b-4645-a907-f7690bd68dfb" providerId="ADAL" clId="{871AC57A-6E3B-4D85-BA02-8D6F5065EA89}" dt="2024-06-05T17:57:36.566" v="146"/>
          <ac:picMkLst>
            <pc:docMk/>
            <pc:sldMk cId="1903397118" sldId="5004"/>
            <ac:picMk id="176" creationId="{A98FF8C1-AED4-75ED-F439-4DFFF61B0153}"/>
          </ac:picMkLst>
        </pc:picChg>
        <pc:picChg chg="mod">
          <ac:chgData name="Jacob, Karen (SPAC/PSPC) (elle-la / she-her)" userId="66e9cce0-e37b-4645-a907-f7690bd68dfb" providerId="ADAL" clId="{871AC57A-6E3B-4D85-BA02-8D6F5065EA89}" dt="2024-06-05T17:57:36.566" v="146"/>
          <ac:picMkLst>
            <pc:docMk/>
            <pc:sldMk cId="1903397118" sldId="5004"/>
            <ac:picMk id="177" creationId="{2484B792-AE46-8D94-2254-2FBB6C0FB51C}"/>
          </ac:picMkLst>
        </pc:picChg>
        <pc:picChg chg="mod">
          <ac:chgData name="Jacob, Karen (SPAC/PSPC) (elle-la / she-her)" userId="66e9cce0-e37b-4645-a907-f7690bd68dfb" providerId="ADAL" clId="{871AC57A-6E3B-4D85-BA02-8D6F5065EA89}" dt="2024-06-05T17:57:36.566" v="146"/>
          <ac:picMkLst>
            <pc:docMk/>
            <pc:sldMk cId="1903397118" sldId="5004"/>
            <ac:picMk id="178" creationId="{A65C9685-60F8-A1E6-ACB4-D66200BFA1C0}"/>
          </ac:picMkLst>
        </pc:picChg>
        <pc:picChg chg="mod">
          <ac:chgData name="Jacob, Karen (SPAC/PSPC) (elle-la / she-her)" userId="66e9cce0-e37b-4645-a907-f7690bd68dfb" providerId="ADAL" clId="{871AC57A-6E3B-4D85-BA02-8D6F5065EA89}" dt="2024-06-05T17:57:36.566" v="146"/>
          <ac:picMkLst>
            <pc:docMk/>
            <pc:sldMk cId="1903397118" sldId="5004"/>
            <ac:picMk id="189" creationId="{2FA64664-8977-A7C6-F192-4A0643BEF6AA}"/>
          </ac:picMkLst>
        </pc:picChg>
        <pc:picChg chg="mod">
          <ac:chgData name="Jacob, Karen (SPAC/PSPC) (elle-la / she-her)" userId="66e9cce0-e37b-4645-a907-f7690bd68dfb" providerId="ADAL" clId="{871AC57A-6E3B-4D85-BA02-8D6F5065EA89}" dt="2024-06-05T17:57:36.566" v="146"/>
          <ac:picMkLst>
            <pc:docMk/>
            <pc:sldMk cId="1903397118" sldId="5004"/>
            <ac:picMk id="232" creationId="{B1D216C6-E26D-BD6B-7B29-DDC5EBB115F3}"/>
          </ac:picMkLst>
        </pc:picChg>
        <pc:picChg chg="mod">
          <ac:chgData name="Jacob, Karen (SPAC/PSPC) (elle-la / she-her)" userId="66e9cce0-e37b-4645-a907-f7690bd68dfb" providerId="ADAL" clId="{871AC57A-6E3B-4D85-BA02-8D6F5065EA89}" dt="2024-06-05T17:57:36.566" v="146"/>
          <ac:picMkLst>
            <pc:docMk/>
            <pc:sldMk cId="1903397118" sldId="5004"/>
            <ac:picMk id="276" creationId="{A379CFFD-97B2-434B-9056-26022C268F4B}"/>
          </ac:picMkLst>
        </pc:picChg>
        <pc:picChg chg="mod">
          <ac:chgData name="Jacob, Karen (SPAC/PSPC) (elle-la / she-her)" userId="66e9cce0-e37b-4645-a907-f7690bd68dfb" providerId="ADAL" clId="{871AC57A-6E3B-4D85-BA02-8D6F5065EA89}" dt="2024-06-05T17:57:36.566" v="146"/>
          <ac:picMkLst>
            <pc:docMk/>
            <pc:sldMk cId="1903397118" sldId="5004"/>
            <ac:picMk id="324" creationId="{3974903D-1697-C47F-C0DF-21023767F358}"/>
          </ac:picMkLst>
        </pc:picChg>
        <pc:picChg chg="mod">
          <ac:chgData name="Jacob, Karen (SPAC/PSPC) (elle-la / she-her)" userId="66e9cce0-e37b-4645-a907-f7690bd68dfb" providerId="ADAL" clId="{871AC57A-6E3B-4D85-BA02-8D6F5065EA89}" dt="2024-06-05T17:57:36.566" v="146"/>
          <ac:picMkLst>
            <pc:docMk/>
            <pc:sldMk cId="1903397118" sldId="5004"/>
            <ac:picMk id="325" creationId="{3A327087-DE84-91B7-DB2C-F74D2A3C34FE}"/>
          </ac:picMkLst>
        </pc:picChg>
        <pc:picChg chg="mod">
          <ac:chgData name="Jacob, Karen (SPAC/PSPC) (elle-la / she-her)" userId="66e9cce0-e37b-4645-a907-f7690bd68dfb" providerId="ADAL" clId="{871AC57A-6E3B-4D85-BA02-8D6F5065EA89}" dt="2024-06-05T17:57:36.566" v="146"/>
          <ac:picMkLst>
            <pc:docMk/>
            <pc:sldMk cId="1903397118" sldId="5004"/>
            <ac:picMk id="326" creationId="{FD93B344-F4B5-3264-33CC-BBE816DFC34A}"/>
          </ac:picMkLst>
        </pc:picChg>
        <pc:picChg chg="mod">
          <ac:chgData name="Jacob, Karen (SPAC/PSPC) (elle-la / she-her)" userId="66e9cce0-e37b-4645-a907-f7690bd68dfb" providerId="ADAL" clId="{871AC57A-6E3B-4D85-BA02-8D6F5065EA89}" dt="2024-06-05T17:57:36.566" v="146"/>
          <ac:picMkLst>
            <pc:docMk/>
            <pc:sldMk cId="1903397118" sldId="5004"/>
            <ac:picMk id="327" creationId="{08054E4A-1364-08E5-2F87-FF90FB6975C1}"/>
          </ac:picMkLst>
        </pc:picChg>
        <pc:picChg chg="mod">
          <ac:chgData name="Jacob, Karen (SPAC/PSPC) (elle-la / she-her)" userId="66e9cce0-e37b-4645-a907-f7690bd68dfb" providerId="ADAL" clId="{871AC57A-6E3B-4D85-BA02-8D6F5065EA89}" dt="2024-06-05T17:57:36.566" v="146"/>
          <ac:picMkLst>
            <pc:docMk/>
            <pc:sldMk cId="1903397118" sldId="5004"/>
            <ac:picMk id="328" creationId="{063C9700-12D4-4428-A419-3748C8477B9C}"/>
          </ac:picMkLst>
        </pc:picChg>
        <pc:picChg chg="mod">
          <ac:chgData name="Jacob, Karen (SPAC/PSPC) (elle-la / she-her)" userId="66e9cce0-e37b-4645-a907-f7690bd68dfb" providerId="ADAL" clId="{871AC57A-6E3B-4D85-BA02-8D6F5065EA89}" dt="2024-06-05T17:57:36.566" v="146"/>
          <ac:picMkLst>
            <pc:docMk/>
            <pc:sldMk cId="1903397118" sldId="5004"/>
            <ac:picMk id="329" creationId="{0AABB5FD-DC94-A954-E2BA-547A232DBB76}"/>
          </ac:picMkLst>
        </pc:picChg>
        <pc:picChg chg="mod">
          <ac:chgData name="Jacob, Karen (SPAC/PSPC) (elle-la / she-her)" userId="66e9cce0-e37b-4645-a907-f7690bd68dfb" providerId="ADAL" clId="{871AC57A-6E3B-4D85-BA02-8D6F5065EA89}" dt="2024-06-05T17:57:36.566" v="146"/>
          <ac:picMkLst>
            <pc:docMk/>
            <pc:sldMk cId="1903397118" sldId="5004"/>
            <ac:picMk id="330" creationId="{F221458B-9B2F-E11F-3EB0-B98C14E003F6}"/>
          </ac:picMkLst>
        </pc:picChg>
        <pc:picChg chg="mod">
          <ac:chgData name="Jacob, Karen (SPAC/PSPC) (elle-la / she-her)" userId="66e9cce0-e37b-4645-a907-f7690bd68dfb" providerId="ADAL" clId="{871AC57A-6E3B-4D85-BA02-8D6F5065EA89}" dt="2024-06-05T17:57:36.566" v="146"/>
          <ac:picMkLst>
            <pc:docMk/>
            <pc:sldMk cId="1903397118" sldId="5004"/>
            <ac:picMk id="331" creationId="{5C87E175-7404-C90F-6791-749F10552DB8}"/>
          </ac:picMkLst>
        </pc:picChg>
        <pc:picChg chg="mod">
          <ac:chgData name="Jacob, Karen (SPAC/PSPC) (elle-la / she-her)" userId="66e9cce0-e37b-4645-a907-f7690bd68dfb" providerId="ADAL" clId="{871AC57A-6E3B-4D85-BA02-8D6F5065EA89}" dt="2024-06-05T17:57:36.566" v="146"/>
          <ac:picMkLst>
            <pc:docMk/>
            <pc:sldMk cId="1903397118" sldId="5004"/>
            <ac:picMk id="332" creationId="{11A80F49-759B-7E51-9B40-170C0141AF80}"/>
          </ac:picMkLst>
        </pc:picChg>
        <pc:picChg chg="mod">
          <ac:chgData name="Jacob, Karen (SPAC/PSPC) (elle-la / she-her)" userId="66e9cce0-e37b-4645-a907-f7690bd68dfb" providerId="ADAL" clId="{871AC57A-6E3B-4D85-BA02-8D6F5065EA89}" dt="2024-06-05T17:57:36.566" v="146"/>
          <ac:picMkLst>
            <pc:docMk/>
            <pc:sldMk cId="1903397118" sldId="5004"/>
            <ac:picMk id="333" creationId="{E26A9118-2712-C0B4-824A-A3F5DF5BC3CB}"/>
          </ac:picMkLst>
        </pc:picChg>
        <pc:picChg chg="mod">
          <ac:chgData name="Jacob, Karen (SPAC/PSPC) (elle-la / she-her)" userId="66e9cce0-e37b-4645-a907-f7690bd68dfb" providerId="ADAL" clId="{871AC57A-6E3B-4D85-BA02-8D6F5065EA89}" dt="2024-06-05T17:57:36.566" v="146"/>
          <ac:picMkLst>
            <pc:docMk/>
            <pc:sldMk cId="1903397118" sldId="5004"/>
            <ac:picMk id="334" creationId="{DE9D746F-4794-33F8-DDFE-084066D5DC69}"/>
          </ac:picMkLst>
        </pc:picChg>
        <pc:picChg chg="mod">
          <ac:chgData name="Jacob, Karen (SPAC/PSPC) (elle-la / she-her)" userId="66e9cce0-e37b-4645-a907-f7690bd68dfb" providerId="ADAL" clId="{871AC57A-6E3B-4D85-BA02-8D6F5065EA89}" dt="2024-06-05T17:57:36.566" v="146"/>
          <ac:picMkLst>
            <pc:docMk/>
            <pc:sldMk cId="1903397118" sldId="5004"/>
            <ac:picMk id="335" creationId="{E0D10647-530C-64FC-7549-17C24E93897A}"/>
          </ac:picMkLst>
        </pc:picChg>
        <pc:picChg chg="mod">
          <ac:chgData name="Jacob, Karen (SPAC/PSPC) (elle-la / she-her)" userId="66e9cce0-e37b-4645-a907-f7690bd68dfb" providerId="ADAL" clId="{871AC57A-6E3B-4D85-BA02-8D6F5065EA89}" dt="2024-06-05T17:57:36.566" v="146"/>
          <ac:picMkLst>
            <pc:docMk/>
            <pc:sldMk cId="1903397118" sldId="5004"/>
            <ac:picMk id="336" creationId="{BCC8C6C0-91FE-2323-90D5-C32624742BEE}"/>
          </ac:picMkLst>
        </pc:picChg>
        <pc:picChg chg="mod">
          <ac:chgData name="Jacob, Karen (SPAC/PSPC) (elle-la / she-her)" userId="66e9cce0-e37b-4645-a907-f7690bd68dfb" providerId="ADAL" clId="{871AC57A-6E3B-4D85-BA02-8D6F5065EA89}" dt="2024-06-05T17:57:36.566" v="146"/>
          <ac:picMkLst>
            <pc:docMk/>
            <pc:sldMk cId="1903397118" sldId="5004"/>
            <ac:picMk id="354" creationId="{7B6A8D96-88D6-AFCD-A271-4684DA91A331}"/>
          </ac:picMkLst>
        </pc:picChg>
        <pc:picChg chg="mod">
          <ac:chgData name="Jacob, Karen (SPAC/PSPC) (elle-la / she-her)" userId="66e9cce0-e37b-4645-a907-f7690bd68dfb" providerId="ADAL" clId="{871AC57A-6E3B-4D85-BA02-8D6F5065EA89}" dt="2024-06-05T17:57:36.566" v="146"/>
          <ac:picMkLst>
            <pc:docMk/>
            <pc:sldMk cId="1903397118" sldId="5004"/>
            <ac:picMk id="397" creationId="{BF50ACC4-82CF-D356-0415-7E53CA459D24}"/>
          </ac:picMkLst>
        </pc:picChg>
        <pc:inkChg chg="mod">
          <ac:chgData name="Jacob, Karen (SPAC/PSPC) (elle-la / she-her)" userId="66e9cce0-e37b-4645-a907-f7690bd68dfb" providerId="ADAL" clId="{871AC57A-6E3B-4D85-BA02-8D6F5065EA89}" dt="2024-06-05T17:57:36.566" v="146"/>
          <ac:inkMkLst>
            <pc:docMk/>
            <pc:sldMk cId="1903397118" sldId="5004"/>
            <ac:inkMk id="5" creationId="{F3627D6B-7A4F-9AAF-1357-1818E29ED33B}"/>
          </ac:inkMkLst>
        </pc:inkChg>
        <pc:inkChg chg="mod">
          <ac:chgData name="Jacob, Karen (SPAC/PSPC) (elle-la / she-her)" userId="66e9cce0-e37b-4645-a907-f7690bd68dfb" providerId="ADAL" clId="{871AC57A-6E3B-4D85-BA02-8D6F5065EA89}" dt="2024-06-05T17:57:36.566" v="146"/>
          <ac:inkMkLst>
            <pc:docMk/>
            <pc:sldMk cId="1903397118" sldId="5004"/>
            <ac:inkMk id="6" creationId="{C5456B84-7D10-682A-02CC-AC448C0E0B46}"/>
          </ac:inkMkLst>
        </pc:inkChg>
        <pc:cxnChg chg="mod">
          <ac:chgData name="Jacob, Karen (SPAC/PSPC) (elle-la / she-her)" userId="66e9cce0-e37b-4645-a907-f7690bd68dfb" providerId="ADAL" clId="{871AC57A-6E3B-4D85-BA02-8D6F5065EA89}" dt="2024-06-05T17:57:36.566" v="146"/>
          <ac:cxnSpMkLst>
            <pc:docMk/>
            <pc:sldMk cId="1903397118" sldId="5004"/>
            <ac:cxnSpMk id="10" creationId="{8A5964A9-7543-BF82-2B7D-9E34B2B13F99}"/>
          </ac:cxnSpMkLst>
        </pc:cxn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58:50.926" v="150"/>
              <pc2:cmMkLst xmlns:pc2="http://schemas.microsoft.com/office/powerpoint/2019/9/main/command">
                <pc:docMk/>
                <pc:sldMk cId="1903397118" sldId="5004"/>
                <pc2:cmMk id="{9E4A2A8D-FC18-4A2F-9D7F-B5F2643E0207}"/>
              </pc2:cmMkLst>
            </pc226:cmChg>
          </p:ext>
        </pc:extLst>
      </pc:sldChg>
      <pc:sldChg chg="modSp del mod">
        <pc:chgData name="Jacob, Karen (SPAC/PSPC) (elle-la / she-her)" userId="66e9cce0-e37b-4645-a907-f7690bd68dfb" providerId="ADAL" clId="{871AC57A-6E3B-4D85-BA02-8D6F5065EA89}" dt="2024-06-21T12:39:11.829" v="157" actId="47"/>
        <pc:sldMkLst>
          <pc:docMk/>
          <pc:sldMk cId="3820944322" sldId="5005"/>
        </pc:sldMkLst>
        <pc:grpChg chg="mod">
          <ac:chgData name="Jacob, Karen (SPAC/PSPC) (elle-la / she-her)" userId="66e9cce0-e37b-4645-a907-f7690bd68dfb" providerId="ADAL" clId="{871AC57A-6E3B-4D85-BA02-8D6F5065EA89}" dt="2024-06-21T12:39:02.681" v="156" actId="1076"/>
          <ac:grpSpMkLst>
            <pc:docMk/>
            <pc:sldMk cId="3820944322" sldId="5005"/>
            <ac:grpSpMk id="3" creationId="{EAFCA7DA-B3A3-40D1-F2DD-88BF94C0FDEE}"/>
          </ac:grpSpMkLst>
        </pc:grpChg>
      </pc:sldChg>
      <pc:sldChg chg="addSp delSp mod modShow">
        <pc:chgData name="Jacob, Karen (SPAC/PSPC) (elle-la / she-her)" userId="66e9cce0-e37b-4645-a907-f7690bd68dfb" providerId="ADAL" clId="{871AC57A-6E3B-4D85-BA02-8D6F5065EA89}" dt="2024-06-21T14:25:32.772" v="2813" actId="729"/>
        <pc:sldMkLst>
          <pc:docMk/>
          <pc:sldMk cId="257696756" sldId="5009"/>
        </pc:sldMkLst>
        <pc:spChg chg="add del">
          <ac:chgData name="Jacob, Karen (SPAC/PSPC) (elle-la / she-her)" userId="66e9cce0-e37b-4645-a907-f7690bd68dfb" providerId="ADAL" clId="{871AC57A-6E3B-4D85-BA02-8D6F5065EA89}" dt="2024-06-21T13:41:55.445" v="1411" actId="478"/>
          <ac:spMkLst>
            <pc:docMk/>
            <pc:sldMk cId="257696756" sldId="5009"/>
            <ac:spMk id="2" creationId="{D960D336-DD27-5679-AECF-6C13D8155F68}"/>
          </ac:spMkLst>
        </pc:spChg>
        <pc:cxnChg chg="add del">
          <ac:chgData name="Jacob, Karen (SPAC/PSPC) (elle-la / she-her)" userId="66e9cce0-e37b-4645-a907-f7690bd68dfb" providerId="ADAL" clId="{871AC57A-6E3B-4D85-BA02-8D6F5065EA89}" dt="2024-06-21T13:41:54.652" v="1409" actId="478"/>
          <ac:cxnSpMkLst>
            <pc:docMk/>
            <pc:sldMk cId="257696756" sldId="5009"/>
            <ac:cxnSpMk id="12" creationId="{BDE86105-CA93-DFEC-23D1-4FA46A0C45FB}"/>
          </ac:cxnSpMkLst>
        </pc:cxnChg>
        <pc:cxnChg chg="add del">
          <ac:chgData name="Jacob, Karen (SPAC/PSPC) (elle-la / she-her)" userId="66e9cce0-e37b-4645-a907-f7690bd68dfb" providerId="ADAL" clId="{871AC57A-6E3B-4D85-BA02-8D6F5065EA89}" dt="2024-06-21T13:41:55.043" v="1410" actId="478"/>
          <ac:cxnSpMkLst>
            <pc:docMk/>
            <pc:sldMk cId="257696756" sldId="5009"/>
            <ac:cxnSpMk id="16" creationId="{42F01C50-1EA6-FC78-46ED-8742A7F0E7A2}"/>
          </ac:cxnSpMkLst>
        </pc:cxnChg>
      </pc:sldChg>
      <pc:sldChg chg="mod modShow">
        <pc:chgData name="Jacob, Karen (SPAC/PSPC) (elle-la / she-her)" userId="66e9cce0-e37b-4645-a907-f7690bd68dfb" providerId="ADAL" clId="{871AC57A-6E3B-4D85-BA02-8D6F5065EA89}" dt="2024-06-21T14:50:48.842" v="3580" actId="729"/>
        <pc:sldMkLst>
          <pc:docMk/>
          <pc:sldMk cId="3716027044" sldId="5010"/>
        </pc:sldMkLst>
      </pc:sldChg>
      <pc:sldChg chg="modSp mod modShow modNotesTx">
        <pc:chgData name="Jacob, Karen (SPAC/PSPC) (elle-la / she-her)" userId="66e9cce0-e37b-4645-a907-f7690bd68dfb" providerId="ADAL" clId="{871AC57A-6E3B-4D85-BA02-8D6F5065EA89}" dt="2024-06-21T13:09:34.946" v="1001" actId="729"/>
        <pc:sldMkLst>
          <pc:docMk/>
          <pc:sldMk cId="1717449089" sldId="5011"/>
        </pc:sldMkLst>
        <pc:spChg chg="mod">
          <ac:chgData name="Jacob, Karen (SPAC/PSPC) (elle-la / she-her)" userId="66e9cce0-e37b-4645-a907-f7690bd68dfb" providerId="ADAL" clId="{871AC57A-6E3B-4D85-BA02-8D6F5065EA89}" dt="2024-06-21T13:09:22.018" v="999"/>
          <ac:spMkLst>
            <pc:docMk/>
            <pc:sldMk cId="1717449089" sldId="5011"/>
            <ac:spMk id="3" creationId="{DE69AC7C-2B0D-CF31-48EE-53792B4D724E}"/>
          </ac:spMkLst>
        </pc:spChg>
        <pc:spChg chg="mod">
          <ac:chgData name="Jacob, Karen (SPAC/PSPC) (elle-la / she-her)" userId="66e9cce0-e37b-4645-a907-f7690bd68dfb" providerId="ADAL" clId="{871AC57A-6E3B-4D85-BA02-8D6F5065EA89}" dt="2024-06-21T13:03:28.461" v="569" actId="20577"/>
          <ac:spMkLst>
            <pc:docMk/>
            <pc:sldMk cId="1717449089" sldId="5011"/>
            <ac:spMk id="5" creationId="{A25F31FD-D91B-2F1F-48B5-8229C5FFF47F}"/>
          </ac:spMkLst>
        </pc:spChg>
      </pc:sldChg>
      <pc:sldChg chg="modSp mod">
        <pc:chgData name="Jacob, Karen (SPAC/PSPC) (elle-la / she-her)" userId="66e9cce0-e37b-4645-a907-f7690bd68dfb" providerId="ADAL" clId="{871AC57A-6E3B-4D85-BA02-8D6F5065EA89}" dt="2024-06-21T20:08:05.169" v="5490" actId="20577"/>
        <pc:sldMkLst>
          <pc:docMk/>
          <pc:sldMk cId="1053501532" sldId="5012"/>
        </pc:sldMkLst>
        <pc:spChg chg="mod">
          <ac:chgData name="Jacob, Karen (SPAC/PSPC) (elle-la / she-her)" userId="66e9cce0-e37b-4645-a907-f7690bd68dfb" providerId="ADAL" clId="{871AC57A-6E3B-4D85-BA02-8D6F5065EA89}" dt="2024-06-21T20:08:05.169" v="5490" actId="20577"/>
          <ac:spMkLst>
            <pc:docMk/>
            <pc:sldMk cId="1053501532" sldId="5012"/>
            <ac:spMk id="3" creationId="{F1C3E258-F619-5F69-B737-122EB008B65B}"/>
          </ac:spMkLst>
        </pc:spChg>
        <pc:spChg chg="mod">
          <ac:chgData name="Jacob, Karen (SPAC/PSPC) (elle-la / she-her)" userId="66e9cce0-e37b-4645-a907-f7690bd68dfb" providerId="ADAL" clId="{871AC57A-6E3B-4D85-BA02-8D6F5065EA89}" dt="2024-06-21T15:17:18.101" v="4352" actId="20577"/>
          <ac:spMkLst>
            <pc:docMk/>
            <pc:sldMk cId="1053501532" sldId="5012"/>
            <ac:spMk id="5" creationId="{EA7F99B2-4BB8-F561-E89D-85B8AF383FB1}"/>
          </ac:spMkLst>
        </pc:spChg>
      </pc:sldChg>
      <pc:sldChg chg="addSp delSp modSp add mod">
        <pc:chgData name="Jacob, Karen (SPAC/PSPC) (elle-la / she-her)" userId="66e9cce0-e37b-4645-a907-f7690bd68dfb" providerId="ADAL" clId="{871AC57A-6E3B-4D85-BA02-8D6F5065EA89}" dt="2024-06-21T15:28:30.184" v="4743" actId="20577"/>
        <pc:sldMkLst>
          <pc:docMk/>
          <pc:sldMk cId="223308526" sldId="5013"/>
        </pc:sldMkLst>
        <pc:spChg chg="mod">
          <ac:chgData name="Jacob, Karen (SPAC/PSPC) (elle-la / she-her)" userId="66e9cce0-e37b-4645-a907-f7690bd68dfb" providerId="ADAL" clId="{871AC57A-6E3B-4D85-BA02-8D6F5065EA89}" dt="2024-06-21T13:24:48.043" v="1280" actId="20577"/>
          <ac:spMkLst>
            <pc:docMk/>
            <pc:sldMk cId="223308526" sldId="5013"/>
            <ac:spMk id="2" creationId="{9DE119AA-C27C-1F93-8533-D6E1F56A43A8}"/>
          </ac:spMkLst>
        </pc:spChg>
        <pc:spChg chg="add mod">
          <ac:chgData name="Jacob, Karen (SPAC/PSPC) (elle-la / she-her)" userId="66e9cce0-e37b-4645-a907-f7690bd68dfb" providerId="ADAL" clId="{871AC57A-6E3B-4D85-BA02-8D6F5065EA89}" dt="2024-06-21T15:28:30.184" v="4743" actId="20577"/>
          <ac:spMkLst>
            <pc:docMk/>
            <pc:sldMk cId="223308526" sldId="5013"/>
            <ac:spMk id="3" creationId="{75D5A4AE-04AE-5718-297F-A8E8907540F8}"/>
          </ac:spMkLst>
        </pc:spChg>
        <pc:spChg chg="del">
          <ac:chgData name="Jacob, Karen (SPAC/PSPC) (elle-la / she-her)" userId="66e9cce0-e37b-4645-a907-f7690bd68dfb" providerId="ADAL" clId="{871AC57A-6E3B-4D85-BA02-8D6F5065EA89}" dt="2024-06-21T12:48:25.342" v="519" actId="478"/>
          <ac:spMkLst>
            <pc:docMk/>
            <pc:sldMk cId="223308526" sldId="5013"/>
            <ac:spMk id="115" creationId="{99B313E4-68F8-0E05-784F-777B53C53AD8}"/>
          </ac:spMkLst>
        </pc:spChg>
        <pc:spChg chg="del">
          <ac:chgData name="Jacob, Karen (SPAC/PSPC) (elle-la / she-her)" userId="66e9cce0-e37b-4645-a907-f7690bd68dfb" providerId="ADAL" clId="{871AC57A-6E3B-4D85-BA02-8D6F5065EA89}" dt="2024-06-21T12:48:25.342" v="519" actId="478"/>
          <ac:spMkLst>
            <pc:docMk/>
            <pc:sldMk cId="223308526" sldId="5013"/>
            <ac:spMk id="117" creationId="{C9DAC2A6-C89F-2DC3-5552-32890189A83F}"/>
          </ac:spMkLst>
        </pc:spChg>
        <pc:spChg chg="del">
          <ac:chgData name="Jacob, Karen (SPAC/PSPC) (elle-la / she-her)" userId="66e9cce0-e37b-4645-a907-f7690bd68dfb" providerId="ADAL" clId="{871AC57A-6E3B-4D85-BA02-8D6F5065EA89}" dt="2024-06-21T12:48:25.342" v="519" actId="478"/>
          <ac:spMkLst>
            <pc:docMk/>
            <pc:sldMk cId="223308526" sldId="5013"/>
            <ac:spMk id="118" creationId="{03606830-0145-BF89-5080-5EDD4851A9CA}"/>
          </ac:spMkLst>
        </pc:spChg>
        <pc:spChg chg="del">
          <ac:chgData name="Jacob, Karen (SPAC/PSPC) (elle-la / she-her)" userId="66e9cce0-e37b-4645-a907-f7690bd68dfb" providerId="ADAL" clId="{871AC57A-6E3B-4D85-BA02-8D6F5065EA89}" dt="2024-06-21T12:48:25.342" v="519" actId="478"/>
          <ac:spMkLst>
            <pc:docMk/>
            <pc:sldMk cId="223308526" sldId="5013"/>
            <ac:spMk id="121" creationId="{66B4CDA5-6D84-9E6F-207A-6E00AF65A892}"/>
          </ac:spMkLst>
        </pc:spChg>
        <pc:spChg chg="del">
          <ac:chgData name="Jacob, Karen (SPAC/PSPC) (elle-la / she-her)" userId="66e9cce0-e37b-4645-a907-f7690bd68dfb" providerId="ADAL" clId="{871AC57A-6E3B-4D85-BA02-8D6F5065EA89}" dt="2024-06-21T12:48:25.342" v="519" actId="478"/>
          <ac:spMkLst>
            <pc:docMk/>
            <pc:sldMk cId="223308526" sldId="5013"/>
            <ac:spMk id="122" creationId="{A9D90BF1-5FA9-70F0-2114-74B647F61343}"/>
          </ac:spMkLst>
        </pc:spChg>
        <pc:spChg chg="del">
          <ac:chgData name="Jacob, Karen (SPAC/PSPC) (elle-la / she-her)" userId="66e9cce0-e37b-4645-a907-f7690bd68dfb" providerId="ADAL" clId="{871AC57A-6E3B-4D85-BA02-8D6F5065EA89}" dt="2024-06-21T12:48:25.342" v="519" actId="478"/>
          <ac:spMkLst>
            <pc:docMk/>
            <pc:sldMk cId="223308526" sldId="5013"/>
            <ac:spMk id="123" creationId="{96958ADE-A4CF-B97E-6CC3-E67FA3D6703E}"/>
          </ac:spMkLst>
        </pc:spChg>
        <pc:spChg chg="del">
          <ac:chgData name="Jacob, Karen (SPAC/PSPC) (elle-la / she-her)" userId="66e9cce0-e37b-4645-a907-f7690bd68dfb" providerId="ADAL" clId="{871AC57A-6E3B-4D85-BA02-8D6F5065EA89}" dt="2024-06-21T12:48:25.342" v="519" actId="478"/>
          <ac:spMkLst>
            <pc:docMk/>
            <pc:sldMk cId="223308526" sldId="5013"/>
            <ac:spMk id="125" creationId="{C3A1B379-6571-1C49-58FA-89CBE354E722}"/>
          </ac:spMkLst>
        </pc:spChg>
        <pc:spChg chg="del">
          <ac:chgData name="Jacob, Karen (SPAC/PSPC) (elle-la / she-her)" userId="66e9cce0-e37b-4645-a907-f7690bd68dfb" providerId="ADAL" clId="{871AC57A-6E3B-4D85-BA02-8D6F5065EA89}" dt="2024-06-21T12:48:25.342" v="519" actId="478"/>
          <ac:spMkLst>
            <pc:docMk/>
            <pc:sldMk cId="223308526" sldId="5013"/>
            <ac:spMk id="126" creationId="{1D166D08-6E2D-80DD-6808-092F6378AC03}"/>
          </ac:spMkLst>
        </pc:spChg>
        <pc:spChg chg="del">
          <ac:chgData name="Jacob, Karen (SPAC/PSPC) (elle-la / she-her)" userId="66e9cce0-e37b-4645-a907-f7690bd68dfb" providerId="ADAL" clId="{871AC57A-6E3B-4D85-BA02-8D6F5065EA89}" dt="2024-06-21T12:48:25.342" v="519" actId="478"/>
          <ac:spMkLst>
            <pc:docMk/>
            <pc:sldMk cId="223308526" sldId="5013"/>
            <ac:spMk id="130" creationId="{37927CF3-81AF-9EC4-5FAE-0F465D84F953}"/>
          </ac:spMkLst>
        </pc:spChg>
        <pc:spChg chg="del">
          <ac:chgData name="Jacob, Karen (SPAC/PSPC) (elle-la / she-her)" userId="66e9cce0-e37b-4645-a907-f7690bd68dfb" providerId="ADAL" clId="{871AC57A-6E3B-4D85-BA02-8D6F5065EA89}" dt="2024-06-21T12:48:25.342" v="519" actId="478"/>
          <ac:spMkLst>
            <pc:docMk/>
            <pc:sldMk cId="223308526" sldId="5013"/>
            <ac:spMk id="131" creationId="{F71F5B42-71A6-85F9-508A-7ED7FF32727F}"/>
          </ac:spMkLst>
        </pc:spChg>
        <pc:spChg chg="del">
          <ac:chgData name="Jacob, Karen (SPAC/PSPC) (elle-la / she-her)" userId="66e9cce0-e37b-4645-a907-f7690bd68dfb" providerId="ADAL" clId="{871AC57A-6E3B-4D85-BA02-8D6F5065EA89}" dt="2024-06-21T12:48:25.342" v="519" actId="478"/>
          <ac:spMkLst>
            <pc:docMk/>
            <pc:sldMk cId="223308526" sldId="5013"/>
            <ac:spMk id="132" creationId="{972E62F7-856E-E74B-98EE-589692A22E88}"/>
          </ac:spMkLst>
        </pc:spChg>
        <pc:grpChg chg="del">
          <ac:chgData name="Jacob, Karen (SPAC/PSPC) (elle-la / she-her)" userId="66e9cce0-e37b-4645-a907-f7690bd68dfb" providerId="ADAL" clId="{871AC57A-6E3B-4D85-BA02-8D6F5065EA89}" dt="2024-06-21T12:48:25.342" v="519" actId="478"/>
          <ac:grpSpMkLst>
            <pc:docMk/>
            <pc:sldMk cId="223308526" sldId="5013"/>
            <ac:grpSpMk id="119" creationId="{35030E9D-B4CE-0B9D-28C2-9F05C1F829FA}"/>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20" creationId="{A738861C-A5D5-34D0-85CF-51FD1F064393}"/>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35" creationId="{DFC4213B-24A7-04FD-6312-18CA7ABB7C6D}"/>
          </ac:grpSpMkLst>
        </pc:grpChg>
        <pc:picChg chg="del">
          <ac:chgData name="Jacob, Karen (SPAC/PSPC) (elle-la / she-her)" userId="66e9cce0-e37b-4645-a907-f7690bd68dfb" providerId="ADAL" clId="{871AC57A-6E3B-4D85-BA02-8D6F5065EA89}" dt="2024-06-21T12:48:25.342" v="519" actId="478"/>
          <ac:picMkLst>
            <pc:docMk/>
            <pc:sldMk cId="223308526" sldId="5013"/>
            <ac:picMk id="128" creationId="{72D7B425-467D-E300-99B1-FF1BD469BAA8}"/>
          </ac:picMkLst>
        </pc:picChg>
        <pc:picChg chg="del">
          <ac:chgData name="Jacob, Karen (SPAC/PSPC) (elle-la / she-her)" userId="66e9cce0-e37b-4645-a907-f7690bd68dfb" providerId="ADAL" clId="{871AC57A-6E3B-4D85-BA02-8D6F5065EA89}" dt="2024-06-21T12:48:25.342" v="519" actId="478"/>
          <ac:picMkLst>
            <pc:docMk/>
            <pc:sldMk cId="223308526" sldId="5013"/>
            <ac:picMk id="129" creationId="{E625BF06-9D3F-0649-97EF-1BA8A59764D7}"/>
          </ac:picMkLst>
        </pc:picChg>
        <pc:picChg chg="del">
          <ac:chgData name="Jacob, Karen (SPAC/PSPC) (elle-la / she-her)" userId="66e9cce0-e37b-4645-a907-f7690bd68dfb" providerId="ADAL" clId="{871AC57A-6E3B-4D85-BA02-8D6F5065EA89}" dt="2024-06-21T12:48:25.342" v="519" actId="478"/>
          <ac:picMkLst>
            <pc:docMk/>
            <pc:sldMk cId="223308526" sldId="5013"/>
            <ac:picMk id="133" creationId="{2C4D393D-1B54-98F0-19F7-D0F7CB3EDE01}"/>
          </ac:picMkLst>
        </pc:picChg>
        <pc:picChg chg="del">
          <ac:chgData name="Jacob, Karen (SPAC/PSPC) (elle-la / she-her)" userId="66e9cce0-e37b-4645-a907-f7690bd68dfb" providerId="ADAL" clId="{871AC57A-6E3B-4D85-BA02-8D6F5065EA89}" dt="2024-06-21T12:48:25.342" v="519" actId="478"/>
          <ac:picMkLst>
            <pc:docMk/>
            <pc:sldMk cId="223308526" sldId="5013"/>
            <ac:picMk id="134" creationId="{5BE65366-221B-6F0C-7BDE-1611F267E4E8}"/>
          </ac:picMkLst>
        </pc:picChg>
      </pc:sldChg>
      <pc:sldChg chg="addSp delSp modSp add mod ord delCm">
        <pc:chgData name="Jacob, Karen (SPAC/PSPC) (elle-la / she-her)" userId="66e9cce0-e37b-4645-a907-f7690bd68dfb" providerId="ADAL" clId="{871AC57A-6E3B-4D85-BA02-8D6F5065EA89}" dt="2024-06-21T15:54:54.151" v="5118" actId="20577"/>
        <pc:sldMkLst>
          <pc:docMk/>
          <pc:sldMk cId="2648589367" sldId="5014"/>
        </pc:sldMkLst>
        <pc:spChg chg="mod">
          <ac:chgData name="Jacob, Karen (SPAC/PSPC) (elle-la / she-her)" userId="66e9cce0-e37b-4645-a907-f7690bd68dfb" providerId="ADAL" clId="{871AC57A-6E3B-4D85-BA02-8D6F5065EA89}" dt="2024-06-21T15:54:54.151" v="5118" actId="20577"/>
          <ac:spMkLst>
            <pc:docMk/>
            <pc:sldMk cId="2648589367" sldId="5014"/>
            <ac:spMk id="3" creationId="{DE69AC7C-2B0D-CF31-48EE-53792B4D724E}"/>
          </ac:spMkLst>
        </pc:spChg>
        <pc:spChg chg="add del mod">
          <ac:chgData name="Jacob, Karen (SPAC/PSPC) (elle-la / she-her)" userId="66e9cce0-e37b-4645-a907-f7690bd68dfb" providerId="ADAL" clId="{871AC57A-6E3B-4D85-BA02-8D6F5065EA89}" dt="2024-06-21T13:22:54.244" v="1187" actId="478"/>
          <ac:spMkLst>
            <pc:docMk/>
            <pc:sldMk cId="2648589367" sldId="5014"/>
            <ac:spMk id="4" creationId="{AB6D7910-BF9E-BA2E-759E-9A7ADDAD663C}"/>
          </ac:spMkLst>
        </pc:spChg>
        <pc:picChg chg="del">
          <ac:chgData name="Jacob, Karen (SPAC/PSPC) (elle-la / she-her)" userId="66e9cce0-e37b-4645-a907-f7690bd68dfb" providerId="ADAL" clId="{871AC57A-6E3B-4D85-BA02-8D6F5065EA89}" dt="2024-06-21T13:22:51.248" v="1186" actId="478"/>
          <ac:picMkLst>
            <pc:docMk/>
            <pc:sldMk cId="2648589367" sldId="5014"/>
            <ac:picMk id="9" creationId="{454D520A-4398-C925-7442-7C2F3F09B382}"/>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3:09:29.966" v="1000"/>
              <pc2:cmMkLst xmlns:pc2="http://schemas.microsoft.com/office/powerpoint/2019/9/main/command">
                <pc:docMk/>
                <pc:sldMk cId="2648589367" sldId="5014"/>
                <pc2:cmMk id="{94F29DB1-DBF2-41F0-829D-6465F6DB99F6}"/>
              </pc2:cmMkLst>
            </pc226:cmChg>
          </p:ext>
        </pc:extLst>
      </pc:sldChg>
      <pc:sldChg chg="modSp add del mod modShow">
        <pc:chgData name="Jacob, Karen (SPAC/PSPC) (elle-la / she-her)" userId="66e9cce0-e37b-4645-a907-f7690bd68dfb" providerId="ADAL" clId="{871AC57A-6E3B-4D85-BA02-8D6F5065EA89}" dt="2024-06-21T14:51:21.235" v="3582" actId="47"/>
        <pc:sldMkLst>
          <pc:docMk/>
          <pc:sldMk cId="1328924416" sldId="5015"/>
        </pc:sldMkLst>
        <pc:spChg chg="mod">
          <ac:chgData name="Jacob, Karen (SPAC/PSPC) (elle-la / she-her)" userId="66e9cce0-e37b-4645-a907-f7690bd68dfb" providerId="ADAL" clId="{871AC57A-6E3B-4D85-BA02-8D6F5065EA89}" dt="2024-06-21T13:42:37.210" v="1448" actId="1076"/>
          <ac:spMkLst>
            <pc:docMk/>
            <pc:sldMk cId="1328924416" sldId="5015"/>
            <ac:spMk id="54" creationId="{5490FC9F-889D-A044-9A24-51CB6BB0725C}"/>
          </ac:spMkLst>
        </pc:spChg>
        <pc:spChg chg="mod">
          <ac:chgData name="Jacob, Karen (SPAC/PSPC) (elle-la / she-her)" userId="66e9cce0-e37b-4645-a907-f7690bd68dfb" providerId="ADAL" clId="{871AC57A-6E3B-4D85-BA02-8D6F5065EA89}" dt="2024-06-21T13:56:49.460" v="1541" actId="120"/>
          <ac:spMkLst>
            <pc:docMk/>
            <pc:sldMk cId="1328924416" sldId="5015"/>
            <ac:spMk id="55" creationId="{C65A198B-1883-1A4B-A8B4-DD725DC9EB17}"/>
          </ac:spMkLst>
        </pc:spChg>
        <pc:spChg chg="mod">
          <ac:chgData name="Jacob, Karen (SPAC/PSPC) (elle-la / she-her)" userId="66e9cce0-e37b-4645-a907-f7690bd68dfb" providerId="ADAL" clId="{871AC57A-6E3B-4D85-BA02-8D6F5065EA89}" dt="2024-06-21T13:42:41.013" v="1449" actId="1076"/>
          <ac:spMkLst>
            <pc:docMk/>
            <pc:sldMk cId="1328924416" sldId="5015"/>
            <ac:spMk id="56" creationId="{432E7640-9E73-0D40-A6F4-AC27C1BD258B}"/>
          </ac:spMkLst>
        </pc:spChg>
      </pc:sldChg>
      <pc:sldChg chg="addSp delSp modSp add del mod setBg">
        <pc:chgData name="Jacob, Karen (SPAC/PSPC) (elle-la / she-her)" userId="66e9cce0-e37b-4645-a907-f7690bd68dfb" providerId="ADAL" clId="{871AC57A-6E3B-4D85-BA02-8D6F5065EA89}" dt="2024-06-21T13:26:44.399" v="1336" actId="47"/>
        <pc:sldMkLst>
          <pc:docMk/>
          <pc:sldMk cId="2593378778" sldId="5015"/>
        </pc:sldMkLst>
        <pc:spChg chg="add del mod">
          <ac:chgData name="Jacob, Karen (SPAC/PSPC) (elle-la / she-her)" userId="66e9cce0-e37b-4645-a907-f7690bd68dfb" providerId="ADAL" clId="{871AC57A-6E3B-4D85-BA02-8D6F5065EA89}" dt="2024-06-21T13:25:19.155" v="1283" actId="478"/>
          <ac:spMkLst>
            <pc:docMk/>
            <pc:sldMk cId="2593378778" sldId="5015"/>
            <ac:spMk id="5" creationId="{7052C023-2377-47D1-3DF0-3D8D9BF914CF}"/>
          </ac:spMkLst>
        </pc:spChg>
        <pc:spChg chg="mod">
          <ac:chgData name="Jacob, Karen (SPAC/PSPC) (elle-la / she-her)" userId="66e9cce0-e37b-4645-a907-f7690bd68dfb" providerId="ADAL" clId="{871AC57A-6E3B-4D85-BA02-8D6F5065EA89}" dt="2024-06-21T13:26:32.426" v="1335" actId="20577"/>
          <ac:spMkLst>
            <pc:docMk/>
            <pc:sldMk cId="2593378778" sldId="5015"/>
            <ac:spMk id="6" creationId="{1E046C2E-5794-1A98-BBEA-235FF863B218}"/>
          </ac:spMkLst>
        </pc:spChg>
        <pc:picChg chg="del">
          <ac:chgData name="Jacob, Karen (SPAC/PSPC) (elle-la / she-her)" userId="66e9cce0-e37b-4645-a907-f7690bd68dfb" providerId="ADAL" clId="{871AC57A-6E3B-4D85-BA02-8D6F5065EA89}" dt="2024-06-21T13:25:14.634" v="1282" actId="478"/>
          <ac:picMkLst>
            <pc:docMk/>
            <pc:sldMk cId="2593378778" sldId="5015"/>
            <ac:picMk id="9" creationId="{013C9C46-AB96-1193-BAA4-09DB126E5274}"/>
          </ac:picMkLst>
        </pc:picChg>
      </pc:sldChg>
      <pc:sldChg chg="modSp add mod">
        <pc:chgData name="Jacob, Karen (SPAC/PSPC) (elle-la / she-her)" userId="66e9cce0-e37b-4645-a907-f7690bd68dfb" providerId="ADAL" clId="{871AC57A-6E3B-4D85-BA02-8D6F5065EA89}" dt="2024-07-09T13:09:42.354" v="6344" actId="20577"/>
        <pc:sldMkLst>
          <pc:docMk/>
          <pc:sldMk cId="1008670027" sldId="5016"/>
        </pc:sldMkLst>
        <pc:spChg chg="mod">
          <ac:chgData name="Jacob, Karen (SPAC/PSPC) (elle-la / she-her)" userId="66e9cce0-e37b-4645-a907-f7690bd68dfb" providerId="ADAL" clId="{871AC57A-6E3B-4D85-BA02-8D6F5065EA89}" dt="2024-06-21T14:33:00.361" v="2876" actId="20577"/>
          <ac:spMkLst>
            <pc:docMk/>
            <pc:sldMk cId="1008670027" sldId="5016"/>
            <ac:spMk id="2" creationId="{459AFBF6-A3FE-12ED-8681-E058ECB7745D}"/>
          </ac:spMkLst>
        </pc:spChg>
        <pc:spChg chg="mod">
          <ac:chgData name="Jacob, Karen (SPAC/PSPC) (elle-la / she-her)" userId="66e9cce0-e37b-4645-a907-f7690bd68dfb" providerId="ADAL" clId="{871AC57A-6E3B-4D85-BA02-8D6F5065EA89}" dt="2024-07-09T13:09:42.354" v="6344" actId="20577"/>
          <ac:spMkLst>
            <pc:docMk/>
            <pc:sldMk cId="1008670027" sldId="5016"/>
            <ac:spMk id="3" creationId="{CC8B02F3-0C27-03C9-5D56-EC07236B6660}"/>
          </ac:spMkLst>
        </pc:spChg>
      </pc:sldChg>
      <pc:sldChg chg="modSp new mod">
        <pc:chgData name="Jacob, Karen (SPAC/PSPC) (elle-la / she-her)" userId="66e9cce0-e37b-4645-a907-f7690bd68dfb" providerId="ADAL" clId="{871AC57A-6E3B-4D85-BA02-8D6F5065EA89}" dt="2024-06-21T14:44:27.385" v="3223" actId="20577"/>
        <pc:sldMkLst>
          <pc:docMk/>
          <pc:sldMk cId="492946276" sldId="5017"/>
        </pc:sldMkLst>
        <pc:spChg chg="mod">
          <ac:chgData name="Jacob, Karen (SPAC/PSPC) (elle-la / she-her)" userId="66e9cce0-e37b-4645-a907-f7690bd68dfb" providerId="ADAL" clId="{871AC57A-6E3B-4D85-BA02-8D6F5065EA89}" dt="2024-06-21T14:44:27.385" v="3223" actId="20577"/>
          <ac:spMkLst>
            <pc:docMk/>
            <pc:sldMk cId="492946276" sldId="5017"/>
            <ac:spMk id="4" creationId="{288FC6AA-879C-CA09-C27C-5EB07939869C}"/>
          </ac:spMkLst>
        </pc:spChg>
      </pc:sldChg>
      <pc:sldChg chg="addSp delSp modSp new mod">
        <pc:chgData name="Jacob, Karen (SPAC/PSPC) (elle-la / she-her)" userId="66e9cce0-e37b-4645-a907-f7690bd68dfb" providerId="ADAL" clId="{871AC57A-6E3B-4D85-BA02-8D6F5065EA89}" dt="2024-07-09T18:30:11.750" v="7189" actId="20577"/>
        <pc:sldMkLst>
          <pc:docMk/>
          <pc:sldMk cId="3865673805" sldId="5018"/>
        </pc:sldMkLst>
        <pc:spChg chg="del">
          <ac:chgData name="Jacob, Karen (SPAC/PSPC) (elle-la / she-her)" userId="66e9cce0-e37b-4645-a907-f7690bd68dfb" providerId="ADAL" clId="{871AC57A-6E3B-4D85-BA02-8D6F5065EA89}" dt="2024-06-21T14:46:46.734" v="3284" actId="478"/>
          <ac:spMkLst>
            <pc:docMk/>
            <pc:sldMk cId="3865673805" sldId="5018"/>
            <ac:spMk id="2" creationId="{5E8D855E-41D9-F8D2-3FD8-80C0C0982206}"/>
          </ac:spMkLst>
        </pc:spChg>
        <pc:spChg chg="add mod">
          <ac:chgData name="Jacob, Karen (SPAC/PSPC) (elle-la / she-her)" userId="66e9cce0-e37b-4645-a907-f7690bd68dfb" providerId="ADAL" clId="{871AC57A-6E3B-4D85-BA02-8D6F5065EA89}" dt="2024-07-08T21:14:15.120" v="6284" actId="1038"/>
          <ac:spMkLst>
            <pc:docMk/>
            <pc:sldMk cId="3865673805" sldId="5018"/>
            <ac:spMk id="3" creationId="{13DCD74A-6998-F023-D695-DD9F937CE93F}"/>
          </ac:spMkLst>
        </pc:spChg>
        <pc:spChg chg="del">
          <ac:chgData name="Jacob, Karen (SPAC/PSPC) (elle-la / she-her)" userId="66e9cce0-e37b-4645-a907-f7690bd68dfb" providerId="ADAL" clId="{871AC57A-6E3B-4D85-BA02-8D6F5065EA89}" dt="2024-06-21T14:46:49.582" v="3285" actId="478"/>
          <ac:spMkLst>
            <pc:docMk/>
            <pc:sldMk cId="3865673805" sldId="5018"/>
            <ac:spMk id="3" creationId="{DCCBAEE0-BF6E-6FC9-741B-6B3DA8EF27BE}"/>
          </ac:spMkLst>
        </pc:spChg>
        <pc:spChg chg="mod">
          <ac:chgData name="Jacob, Karen (SPAC/PSPC) (elle-la / she-her)" userId="66e9cce0-e37b-4645-a907-f7690bd68dfb" providerId="ADAL" clId="{871AC57A-6E3B-4D85-BA02-8D6F5065EA89}" dt="2024-07-09T17:22:18.320" v="7128" actId="20577"/>
          <ac:spMkLst>
            <pc:docMk/>
            <pc:sldMk cId="3865673805" sldId="5018"/>
            <ac:spMk id="4" creationId="{5CFF1F66-C9F8-5499-40CC-51C8B8764C38}"/>
          </ac:spMkLst>
        </pc:spChg>
        <pc:spChg chg="add mod">
          <ac:chgData name="Jacob, Karen (SPAC/PSPC) (elle-la / she-her)" userId="66e9cce0-e37b-4645-a907-f7690bd68dfb" providerId="ADAL" clId="{871AC57A-6E3B-4D85-BA02-8D6F5065EA89}" dt="2024-07-08T21:14:15.120" v="6284" actId="1038"/>
          <ac:spMkLst>
            <pc:docMk/>
            <pc:sldMk cId="3865673805" sldId="5018"/>
            <ac:spMk id="5" creationId="{252009ED-9673-DE27-8712-DE8DAD6E21E0}"/>
          </ac:spMkLst>
        </pc:spChg>
        <pc:spChg chg="add mod">
          <ac:chgData name="Jacob, Karen (SPAC/PSPC) (elle-la / she-her)" userId="66e9cce0-e37b-4645-a907-f7690bd68dfb" providerId="ADAL" clId="{871AC57A-6E3B-4D85-BA02-8D6F5065EA89}" dt="2024-07-08T21:14:15.120" v="6284" actId="1038"/>
          <ac:spMkLst>
            <pc:docMk/>
            <pc:sldMk cId="3865673805" sldId="5018"/>
            <ac:spMk id="6" creationId="{E26D1384-8E76-9A8B-B475-DE870612B95D}"/>
          </ac:spMkLst>
        </pc:spChg>
        <pc:spChg chg="add mod">
          <ac:chgData name="Jacob, Karen (SPAC/PSPC) (elle-la / she-her)" userId="66e9cce0-e37b-4645-a907-f7690bd68dfb" providerId="ADAL" clId="{871AC57A-6E3B-4D85-BA02-8D6F5065EA89}" dt="2024-07-08T21:14:15.120" v="6284" actId="1038"/>
          <ac:spMkLst>
            <pc:docMk/>
            <pc:sldMk cId="3865673805" sldId="5018"/>
            <ac:spMk id="8" creationId="{23E99F4F-F3B2-6B21-75A4-29202AF2EDAE}"/>
          </ac:spMkLst>
        </pc:spChg>
        <pc:spChg chg="add mod">
          <ac:chgData name="Jacob, Karen (SPAC/PSPC) (elle-la / she-her)" userId="66e9cce0-e37b-4645-a907-f7690bd68dfb" providerId="ADAL" clId="{871AC57A-6E3B-4D85-BA02-8D6F5065EA89}" dt="2024-07-08T21:14:15.120" v="6284" actId="1038"/>
          <ac:spMkLst>
            <pc:docMk/>
            <pc:sldMk cId="3865673805" sldId="5018"/>
            <ac:spMk id="9" creationId="{0F0AB770-5A31-5D88-5DC8-C9BAB7804201}"/>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0" creationId="{E49B5449-959A-7DA6-0EA2-232C2BB62871}"/>
          </ac:spMkLst>
        </pc:spChg>
        <pc:spChg chg="add mod">
          <ac:chgData name="Jacob, Karen (SPAC/PSPC) (elle-la / she-her)" userId="66e9cce0-e37b-4645-a907-f7690bd68dfb" providerId="ADAL" clId="{871AC57A-6E3B-4D85-BA02-8D6F5065EA89}" dt="2024-07-08T21:14:15.120" v="6284" actId="1038"/>
          <ac:spMkLst>
            <pc:docMk/>
            <pc:sldMk cId="3865673805" sldId="5018"/>
            <ac:spMk id="11" creationId="{4168E461-9019-0256-7847-A59482620E08}"/>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2" creationId="{641A1C60-574D-C16D-A641-07C3B4DFAF69}"/>
          </ac:spMkLst>
        </pc:spChg>
        <pc:spChg chg="add mod">
          <ac:chgData name="Jacob, Karen (SPAC/PSPC) (elle-la / she-her)" userId="66e9cce0-e37b-4645-a907-f7690bd68dfb" providerId="ADAL" clId="{871AC57A-6E3B-4D85-BA02-8D6F5065EA89}" dt="2024-07-08T21:14:15.120" v="6284" actId="1038"/>
          <ac:spMkLst>
            <pc:docMk/>
            <pc:sldMk cId="3865673805" sldId="5018"/>
            <ac:spMk id="14" creationId="{E8367094-C7DF-CBCF-AF5E-8E4489281A4B}"/>
          </ac:spMkLst>
        </pc:spChg>
        <pc:spChg chg="add mod">
          <ac:chgData name="Jacob, Karen (SPAC/PSPC) (elle-la / she-her)" userId="66e9cce0-e37b-4645-a907-f7690bd68dfb" providerId="ADAL" clId="{871AC57A-6E3B-4D85-BA02-8D6F5065EA89}" dt="2024-07-08T21:14:15.120" v="6284" actId="1038"/>
          <ac:spMkLst>
            <pc:docMk/>
            <pc:sldMk cId="3865673805" sldId="5018"/>
            <ac:spMk id="16" creationId="{60A4BDE2-E6E1-BEFA-6545-10F4A9C4B38E}"/>
          </ac:spMkLst>
        </pc:spChg>
        <pc:spChg chg="add mod">
          <ac:chgData name="Jacob, Karen (SPAC/PSPC) (elle-la / she-her)" userId="66e9cce0-e37b-4645-a907-f7690bd68dfb" providerId="ADAL" clId="{871AC57A-6E3B-4D85-BA02-8D6F5065EA89}" dt="2024-07-08T21:14:15.120" v="6284" actId="1038"/>
          <ac:spMkLst>
            <pc:docMk/>
            <pc:sldMk cId="3865673805" sldId="5018"/>
            <ac:spMk id="17" creationId="{BE2C8F62-70A2-F29B-59A9-A79C3CD3C98F}"/>
          </ac:spMkLst>
        </pc:spChg>
        <pc:spChg chg="add mod">
          <ac:chgData name="Jacob, Karen (SPAC/PSPC) (elle-la / she-her)" userId="66e9cce0-e37b-4645-a907-f7690bd68dfb" providerId="ADAL" clId="{871AC57A-6E3B-4D85-BA02-8D6F5065EA89}" dt="2024-07-08T21:14:15.120" v="6284" actId="1038"/>
          <ac:spMkLst>
            <pc:docMk/>
            <pc:sldMk cId="3865673805" sldId="5018"/>
            <ac:spMk id="19" creationId="{949E1EBB-B5B0-7C59-331C-F95BADD85A45}"/>
          </ac:spMkLst>
        </pc:spChg>
        <pc:spChg chg="add mod">
          <ac:chgData name="Jacob, Karen (SPAC/PSPC) (elle-la / she-her)" userId="66e9cce0-e37b-4645-a907-f7690bd68dfb" providerId="ADAL" clId="{871AC57A-6E3B-4D85-BA02-8D6F5065EA89}" dt="2024-07-08T21:14:15.120" v="6284" actId="1038"/>
          <ac:spMkLst>
            <pc:docMk/>
            <pc:sldMk cId="3865673805" sldId="5018"/>
            <ac:spMk id="20" creationId="{B3A81356-6D92-78A8-3DC1-7B7F6043FA67}"/>
          </ac:spMkLst>
        </pc:spChg>
        <pc:spChg chg="add mod">
          <ac:chgData name="Jacob, Karen (SPAC/PSPC) (elle-la / she-her)" userId="66e9cce0-e37b-4645-a907-f7690bd68dfb" providerId="ADAL" clId="{871AC57A-6E3B-4D85-BA02-8D6F5065EA89}" dt="2024-07-08T21:14:15.120" v="6284" actId="1038"/>
          <ac:spMkLst>
            <pc:docMk/>
            <pc:sldMk cId="3865673805" sldId="5018"/>
            <ac:spMk id="21" creationId="{8B26B707-9B50-D4B7-CE03-18C890FBEA1E}"/>
          </ac:spMkLst>
        </pc:spChg>
        <pc:spChg chg="add mod">
          <ac:chgData name="Jacob, Karen (SPAC/PSPC) (elle-la / she-her)" userId="66e9cce0-e37b-4645-a907-f7690bd68dfb" providerId="ADAL" clId="{871AC57A-6E3B-4D85-BA02-8D6F5065EA89}" dt="2024-07-08T21:14:15.120" v="6284" actId="1038"/>
          <ac:spMkLst>
            <pc:docMk/>
            <pc:sldMk cId="3865673805" sldId="5018"/>
            <ac:spMk id="22" creationId="{153AD99E-969D-CDB0-2F1A-03C010B4CA2F}"/>
          </ac:spMkLst>
        </pc:spChg>
        <pc:spChg chg="add mod">
          <ac:chgData name="Jacob, Karen (SPAC/PSPC) (elle-la / she-her)" userId="66e9cce0-e37b-4645-a907-f7690bd68dfb" providerId="ADAL" clId="{871AC57A-6E3B-4D85-BA02-8D6F5065EA89}" dt="2024-07-08T21:14:15.120" v="6284" actId="1038"/>
          <ac:spMkLst>
            <pc:docMk/>
            <pc:sldMk cId="3865673805" sldId="5018"/>
            <ac:spMk id="23" creationId="{5009506C-9AF6-D811-B74A-D0334300F2A4}"/>
          </ac:spMkLst>
        </pc:spChg>
        <pc:spChg chg="add mod">
          <ac:chgData name="Jacob, Karen (SPAC/PSPC) (elle-la / she-her)" userId="66e9cce0-e37b-4645-a907-f7690bd68dfb" providerId="ADAL" clId="{871AC57A-6E3B-4D85-BA02-8D6F5065EA89}" dt="2024-07-08T21:14:15.120" v="6284" actId="1038"/>
          <ac:spMkLst>
            <pc:docMk/>
            <pc:sldMk cId="3865673805" sldId="5018"/>
            <ac:spMk id="25" creationId="{BB5B164B-32E5-447E-7986-F11E54636D93}"/>
          </ac:spMkLst>
        </pc:spChg>
        <pc:spChg chg="add mod">
          <ac:chgData name="Jacob, Karen (SPAC/PSPC) (elle-la / she-her)" userId="66e9cce0-e37b-4645-a907-f7690bd68dfb" providerId="ADAL" clId="{871AC57A-6E3B-4D85-BA02-8D6F5065EA89}" dt="2024-07-08T21:14:15.120" v="6284" actId="1038"/>
          <ac:spMkLst>
            <pc:docMk/>
            <pc:sldMk cId="3865673805" sldId="5018"/>
            <ac:spMk id="26" creationId="{F54B95CE-09AF-C40B-10E8-38309EBC5D2C}"/>
          </ac:spMkLst>
        </pc:spChg>
        <pc:spChg chg="add mod">
          <ac:chgData name="Jacob, Karen (SPAC/PSPC) (elle-la / she-her)" userId="66e9cce0-e37b-4645-a907-f7690bd68dfb" providerId="ADAL" clId="{871AC57A-6E3B-4D85-BA02-8D6F5065EA89}" dt="2024-07-08T21:14:15.120" v="6284" actId="1038"/>
          <ac:spMkLst>
            <pc:docMk/>
            <pc:sldMk cId="3865673805" sldId="5018"/>
            <ac:spMk id="27" creationId="{00CEC2D0-B816-A4AA-98FF-42B3C53A244F}"/>
          </ac:spMkLst>
        </pc:spChg>
        <pc:spChg chg="add mod">
          <ac:chgData name="Jacob, Karen (SPAC/PSPC) (elle-la / she-her)" userId="66e9cce0-e37b-4645-a907-f7690bd68dfb" providerId="ADAL" clId="{871AC57A-6E3B-4D85-BA02-8D6F5065EA89}" dt="2024-07-08T21:14:15.120" v="6284" actId="1038"/>
          <ac:spMkLst>
            <pc:docMk/>
            <pc:sldMk cId="3865673805" sldId="5018"/>
            <ac:spMk id="28" creationId="{E24B5A4D-D3D0-4B88-EE19-E2BACA852406}"/>
          </ac:spMkLst>
        </pc:spChg>
        <pc:spChg chg="add mod">
          <ac:chgData name="Jacob, Karen (SPAC/PSPC) (elle-la / she-her)" userId="66e9cce0-e37b-4645-a907-f7690bd68dfb" providerId="ADAL" clId="{871AC57A-6E3B-4D85-BA02-8D6F5065EA89}" dt="2024-07-08T21:14:15.120" v="6284" actId="1038"/>
          <ac:spMkLst>
            <pc:docMk/>
            <pc:sldMk cId="3865673805" sldId="5018"/>
            <ac:spMk id="29" creationId="{EDA9D9ED-7A9A-1762-D5B3-9D3978C4998E}"/>
          </ac:spMkLst>
        </pc:spChg>
        <pc:spChg chg="add mod">
          <ac:chgData name="Jacob, Karen (SPAC/PSPC) (elle-la / she-her)" userId="66e9cce0-e37b-4645-a907-f7690bd68dfb" providerId="ADAL" clId="{871AC57A-6E3B-4D85-BA02-8D6F5065EA89}" dt="2024-07-08T21:14:15.120" v="6284" actId="1038"/>
          <ac:spMkLst>
            <pc:docMk/>
            <pc:sldMk cId="3865673805" sldId="5018"/>
            <ac:spMk id="31" creationId="{89EC5A0B-8CD2-4D4C-3E71-927F1BFDB370}"/>
          </ac:spMkLst>
        </pc:spChg>
        <pc:spChg chg="add mod">
          <ac:chgData name="Jacob, Karen (SPAC/PSPC) (elle-la / she-her)" userId="66e9cce0-e37b-4645-a907-f7690bd68dfb" providerId="ADAL" clId="{871AC57A-6E3B-4D85-BA02-8D6F5065EA89}" dt="2024-07-09T13:51:37.365" v="6653" actId="1076"/>
          <ac:spMkLst>
            <pc:docMk/>
            <pc:sldMk cId="3865673805" sldId="5018"/>
            <ac:spMk id="32" creationId="{CA864140-7987-A572-621D-80A839AD187F}"/>
          </ac:spMkLst>
        </pc:spChg>
        <pc:spChg chg="add mod">
          <ac:chgData name="Jacob, Karen (SPAC/PSPC) (elle-la / she-her)" userId="66e9cce0-e37b-4645-a907-f7690bd68dfb" providerId="ADAL" clId="{871AC57A-6E3B-4D85-BA02-8D6F5065EA89}" dt="2024-07-08T21:14:15.120" v="6284" actId="1038"/>
          <ac:spMkLst>
            <pc:docMk/>
            <pc:sldMk cId="3865673805" sldId="5018"/>
            <ac:spMk id="34" creationId="{DED31946-3A88-3B27-CAFD-D81126891350}"/>
          </ac:spMkLst>
        </pc:spChg>
        <pc:spChg chg="add mod">
          <ac:chgData name="Jacob, Karen (SPAC/PSPC) (elle-la / she-her)" userId="66e9cce0-e37b-4645-a907-f7690bd68dfb" providerId="ADAL" clId="{871AC57A-6E3B-4D85-BA02-8D6F5065EA89}" dt="2024-07-08T21:14:15.120" v="6284" actId="1038"/>
          <ac:spMkLst>
            <pc:docMk/>
            <pc:sldMk cId="3865673805" sldId="5018"/>
            <ac:spMk id="35" creationId="{0AD30AF3-6F71-6556-CAD0-415C4A0ED505}"/>
          </ac:spMkLst>
        </pc:spChg>
        <pc:spChg chg="add mod">
          <ac:chgData name="Jacob, Karen (SPAC/PSPC) (elle-la / she-her)" userId="66e9cce0-e37b-4645-a907-f7690bd68dfb" providerId="ADAL" clId="{871AC57A-6E3B-4D85-BA02-8D6F5065EA89}" dt="2024-07-08T21:14:15.120" v="6284" actId="1038"/>
          <ac:spMkLst>
            <pc:docMk/>
            <pc:sldMk cId="3865673805" sldId="5018"/>
            <ac:spMk id="36" creationId="{5C90F134-E0D2-DCDE-ECD6-B419D029FA78}"/>
          </ac:spMkLst>
        </pc:spChg>
        <pc:spChg chg="add mod">
          <ac:chgData name="Jacob, Karen (SPAC/PSPC) (elle-la / she-her)" userId="66e9cce0-e37b-4645-a907-f7690bd68dfb" providerId="ADAL" clId="{871AC57A-6E3B-4D85-BA02-8D6F5065EA89}" dt="2024-07-08T21:14:15.120" v="6284" actId="1038"/>
          <ac:spMkLst>
            <pc:docMk/>
            <pc:sldMk cId="3865673805" sldId="5018"/>
            <ac:spMk id="37" creationId="{18901499-BBEF-67D4-3F59-37A24ED0BEED}"/>
          </ac:spMkLst>
        </pc:spChg>
        <pc:spChg chg="add mod">
          <ac:chgData name="Jacob, Karen (SPAC/PSPC) (elle-la / she-her)" userId="66e9cce0-e37b-4645-a907-f7690bd68dfb" providerId="ADAL" clId="{871AC57A-6E3B-4D85-BA02-8D6F5065EA89}" dt="2024-07-08T21:14:15.120" v="6284" actId="1038"/>
          <ac:spMkLst>
            <pc:docMk/>
            <pc:sldMk cId="3865673805" sldId="5018"/>
            <ac:spMk id="38" creationId="{C4B3ACDF-F9DE-5445-B161-1597312A56A1}"/>
          </ac:spMkLst>
        </pc:spChg>
        <pc:spChg chg="add mod">
          <ac:chgData name="Jacob, Karen (SPAC/PSPC) (elle-la / she-her)" userId="66e9cce0-e37b-4645-a907-f7690bd68dfb" providerId="ADAL" clId="{871AC57A-6E3B-4D85-BA02-8D6F5065EA89}" dt="2024-07-08T21:14:15.120" v="6284" actId="1038"/>
          <ac:spMkLst>
            <pc:docMk/>
            <pc:sldMk cId="3865673805" sldId="5018"/>
            <ac:spMk id="40" creationId="{64D76BAA-855E-6319-281A-AEEFD5B609B2}"/>
          </ac:spMkLst>
        </pc:spChg>
        <pc:spChg chg="add mod">
          <ac:chgData name="Jacob, Karen (SPAC/PSPC) (elle-la / she-her)" userId="66e9cce0-e37b-4645-a907-f7690bd68dfb" providerId="ADAL" clId="{871AC57A-6E3B-4D85-BA02-8D6F5065EA89}" dt="2024-07-08T21:14:15.120" v="6284" actId="1038"/>
          <ac:spMkLst>
            <pc:docMk/>
            <pc:sldMk cId="3865673805" sldId="5018"/>
            <ac:spMk id="41" creationId="{D4C84D6D-4280-615B-12A1-87A6343C60F4}"/>
          </ac:spMkLst>
        </pc:spChg>
        <pc:spChg chg="add mod">
          <ac:chgData name="Jacob, Karen (SPAC/PSPC) (elle-la / she-her)" userId="66e9cce0-e37b-4645-a907-f7690bd68dfb" providerId="ADAL" clId="{871AC57A-6E3B-4D85-BA02-8D6F5065EA89}" dt="2024-07-09T13:37:01.888" v="6374" actId="1076"/>
          <ac:spMkLst>
            <pc:docMk/>
            <pc:sldMk cId="3865673805" sldId="5018"/>
            <ac:spMk id="47" creationId="{6F061153-9151-0D2F-6C2F-16E75EEC8F0B}"/>
          </ac:spMkLst>
        </pc:spChg>
        <pc:spChg chg="add mod">
          <ac:chgData name="Jacob, Karen (SPAC/PSPC) (elle-la / she-her)" userId="66e9cce0-e37b-4645-a907-f7690bd68dfb" providerId="ADAL" clId="{871AC57A-6E3B-4D85-BA02-8D6F5065EA89}" dt="2024-07-09T13:39:09.879" v="6449" actId="1076"/>
          <ac:spMkLst>
            <pc:docMk/>
            <pc:sldMk cId="3865673805" sldId="5018"/>
            <ac:spMk id="48" creationId="{6B16CA0D-CB1F-D6ED-89BE-F6616AE840BF}"/>
          </ac:spMkLst>
        </pc:spChg>
        <pc:spChg chg="add del mod">
          <ac:chgData name="Jacob, Karen (SPAC/PSPC) (elle-la / she-her)" userId="66e9cce0-e37b-4645-a907-f7690bd68dfb" providerId="ADAL" clId="{871AC57A-6E3B-4D85-BA02-8D6F5065EA89}" dt="2024-07-09T13:51:15.187" v="6650" actId="478"/>
          <ac:spMkLst>
            <pc:docMk/>
            <pc:sldMk cId="3865673805" sldId="5018"/>
            <ac:spMk id="49" creationId="{374790EF-3C2A-7A40-E4D7-CD6E7D25B5F5}"/>
          </ac:spMkLst>
        </pc:spChg>
        <pc:spChg chg="add del mod">
          <ac:chgData name="Jacob, Karen (SPAC/PSPC) (elle-la / she-her)" userId="66e9cce0-e37b-4645-a907-f7690bd68dfb" providerId="ADAL" clId="{871AC57A-6E3B-4D85-BA02-8D6F5065EA89}" dt="2024-07-09T13:51:12.137" v="6649" actId="478"/>
          <ac:spMkLst>
            <pc:docMk/>
            <pc:sldMk cId="3865673805" sldId="5018"/>
            <ac:spMk id="50" creationId="{9F54C5C7-F798-2030-76A2-BBFF5C41ACDD}"/>
          </ac:spMkLst>
        </pc:spChg>
        <pc:spChg chg="add mod">
          <ac:chgData name="Jacob, Karen (SPAC/PSPC) (elle-la / she-her)" userId="66e9cce0-e37b-4645-a907-f7690bd68dfb" providerId="ADAL" clId="{871AC57A-6E3B-4D85-BA02-8D6F5065EA89}" dt="2024-07-09T17:22:47.105" v="7132" actId="1076"/>
          <ac:spMkLst>
            <pc:docMk/>
            <pc:sldMk cId="3865673805" sldId="5018"/>
            <ac:spMk id="51" creationId="{F808FB0B-95FB-588D-74D4-560CE24F641C}"/>
          </ac:spMkLst>
        </pc:spChg>
        <pc:spChg chg="add mod">
          <ac:chgData name="Jacob, Karen (SPAC/PSPC) (elle-la / she-her)" userId="66e9cce0-e37b-4645-a907-f7690bd68dfb" providerId="ADAL" clId="{871AC57A-6E3B-4D85-BA02-8D6F5065EA89}" dt="2024-07-09T17:22:43.705" v="7131" actId="1076"/>
          <ac:spMkLst>
            <pc:docMk/>
            <pc:sldMk cId="3865673805" sldId="5018"/>
            <ac:spMk id="52" creationId="{FB1CCAB6-4244-F5C1-D619-C44E7D9FA0E1}"/>
          </ac:spMkLst>
        </pc:spChg>
        <pc:spChg chg="add mod">
          <ac:chgData name="Jacob, Karen (SPAC/PSPC) (elle-la / she-her)" userId="66e9cce0-e37b-4645-a907-f7690bd68dfb" providerId="ADAL" clId="{871AC57A-6E3B-4D85-BA02-8D6F5065EA89}" dt="2024-07-09T17:22:37.063" v="7130" actId="1076"/>
          <ac:spMkLst>
            <pc:docMk/>
            <pc:sldMk cId="3865673805" sldId="5018"/>
            <ac:spMk id="53" creationId="{77D85CA5-B859-31BE-A852-18BCBED95D02}"/>
          </ac:spMkLst>
        </pc:spChg>
        <pc:spChg chg="add mod">
          <ac:chgData name="Jacob, Karen (SPAC/PSPC) (elle-la / she-her)" userId="66e9cce0-e37b-4645-a907-f7690bd68dfb" providerId="ADAL" clId="{871AC57A-6E3B-4D85-BA02-8D6F5065EA89}" dt="2024-07-09T17:22:31.104" v="7129" actId="1076"/>
          <ac:spMkLst>
            <pc:docMk/>
            <pc:sldMk cId="3865673805" sldId="5018"/>
            <ac:spMk id="54" creationId="{D1AF6197-0772-06C0-D39E-B685CA3A6EAD}"/>
          </ac:spMkLst>
        </pc:spChg>
        <pc:spChg chg="add mod">
          <ac:chgData name="Jacob, Karen (SPAC/PSPC) (elle-la / she-her)" userId="66e9cce0-e37b-4645-a907-f7690bd68dfb" providerId="ADAL" clId="{871AC57A-6E3B-4D85-BA02-8D6F5065EA89}" dt="2024-07-09T18:29:51.805" v="7187" actId="13926"/>
          <ac:spMkLst>
            <pc:docMk/>
            <pc:sldMk cId="3865673805" sldId="5018"/>
            <ac:spMk id="55" creationId="{7A1A59FF-8821-4234-BA1F-86BE5197E628}"/>
          </ac:spMkLst>
        </pc:spChg>
        <pc:spChg chg="add mod">
          <ac:chgData name="Jacob, Karen (SPAC/PSPC) (elle-la / she-her)" userId="66e9cce0-e37b-4645-a907-f7690bd68dfb" providerId="ADAL" clId="{871AC57A-6E3B-4D85-BA02-8D6F5065EA89}" dt="2024-07-09T13:52:01.294" v="6655" actId="1076"/>
          <ac:spMkLst>
            <pc:docMk/>
            <pc:sldMk cId="3865673805" sldId="5018"/>
            <ac:spMk id="56" creationId="{ACA4AAD1-FCBE-4C24-0B3D-DE15D577F00F}"/>
          </ac:spMkLst>
        </pc:spChg>
        <pc:spChg chg="add mod">
          <ac:chgData name="Jacob, Karen (SPAC/PSPC) (elle-la / she-her)" userId="66e9cce0-e37b-4645-a907-f7690bd68dfb" providerId="ADAL" clId="{871AC57A-6E3B-4D85-BA02-8D6F5065EA89}" dt="2024-07-09T18:30:11.750" v="7189" actId="20577"/>
          <ac:spMkLst>
            <pc:docMk/>
            <pc:sldMk cId="3865673805" sldId="5018"/>
            <ac:spMk id="57" creationId="{80C64189-743E-1D6F-BC38-898A98A32465}"/>
          </ac:spMkLst>
        </pc:spChg>
        <pc:spChg chg="add mod">
          <ac:chgData name="Jacob, Karen (SPAC/PSPC) (elle-la / she-her)" userId="66e9cce0-e37b-4645-a907-f7690bd68dfb" providerId="ADAL" clId="{871AC57A-6E3B-4D85-BA02-8D6F5065EA89}" dt="2024-07-09T13:52:11.269" v="6657" actId="1076"/>
          <ac:spMkLst>
            <pc:docMk/>
            <pc:sldMk cId="3865673805" sldId="5018"/>
            <ac:spMk id="58" creationId="{62D48345-9A67-33B9-271D-D2722B58526B}"/>
          </ac:spMkLst>
        </pc:spChg>
        <pc:spChg chg="add mod">
          <ac:chgData name="Jacob, Karen (SPAC/PSPC) (elle-la / she-her)" userId="66e9cce0-e37b-4645-a907-f7690bd68dfb" providerId="ADAL" clId="{871AC57A-6E3B-4D85-BA02-8D6F5065EA89}" dt="2024-07-09T17:22:00.164" v="7118" actId="1037"/>
          <ac:spMkLst>
            <pc:docMk/>
            <pc:sldMk cId="3865673805" sldId="5018"/>
            <ac:spMk id="59" creationId="{9EEF3366-3763-B493-96F0-E3984E5F4223}"/>
          </ac:spMkLst>
        </pc:spChg>
        <pc:graphicFrameChg chg="add del mod modGraphic">
          <ac:chgData name="Jacob, Karen (SPAC/PSPC) (elle-la / she-her)" userId="66e9cce0-e37b-4645-a907-f7690bd68dfb" providerId="ADAL" clId="{871AC57A-6E3B-4D85-BA02-8D6F5065EA89}" dt="2024-06-21T15:31:33.342" v="4830" actId="478"/>
          <ac:graphicFrameMkLst>
            <pc:docMk/>
            <pc:sldMk cId="3865673805" sldId="5018"/>
            <ac:graphicFrameMk id="5" creationId="{34189831-7EFC-276C-7FD6-74C024D9DF33}"/>
          </ac:graphicFrameMkLst>
        </pc:graphicFrameChg>
        <pc:cxnChg chg="add mod ord">
          <ac:chgData name="Jacob, Karen (SPAC/PSPC) (elle-la / she-her)" userId="66e9cce0-e37b-4645-a907-f7690bd68dfb" providerId="ADAL" clId="{871AC57A-6E3B-4D85-BA02-8D6F5065EA89}" dt="2024-07-08T21:14:15.120" v="6284" actId="1038"/>
          <ac:cxnSpMkLst>
            <pc:docMk/>
            <pc:sldMk cId="3865673805" sldId="5018"/>
            <ac:cxnSpMk id="2" creationId="{C96F2F8A-400E-A20B-385F-5F541FA16016}"/>
          </ac:cxnSpMkLst>
        </pc:cxnChg>
        <pc:cxnChg chg="add mod ord">
          <ac:chgData name="Jacob, Karen (SPAC/PSPC) (elle-la / she-her)" userId="66e9cce0-e37b-4645-a907-f7690bd68dfb" providerId="ADAL" clId="{871AC57A-6E3B-4D85-BA02-8D6F5065EA89}" dt="2024-07-08T21:14:26.004" v="6286" actId="14100"/>
          <ac:cxnSpMkLst>
            <pc:docMk/>
            <pc:sldMk cId="3865673805" sldId="5018"/>
            <ac:cxnSpMk id="7" creationId="{2BE5BEB0-7BD4-29A1-5362-0AE998BE7E93}"/>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3" creationId="{10E575E7-B168-6981-57EE-8C43273FD31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5" creationId="{7983B277-C430-B365-49FF-CBA08A0541FA}"/>
          </ac:cxnSpMkLst>
        </pc:cxnChg>
        <pc:cxnChg chg="add mod ord">
          <ac:chgData name="Jacob, Karen (SPAC/PSPC) (elle-la / she-her)" userId="66e9cce0-e37b-4645-a907-f7690bd68dfb" providerId="ADAL" clId="{871AC57A-6E3B-4D85-BA02-8D6F5065EA89}" dt="2024-07-08T21:14:15.120" v="6284" actId="1038"/>
          <ac:cxnSpMkLst>
            <pc:docMk/>
            <pc:sldMk cId="3865673805" sldId="5018"/>
            <ac:cxnSpMk id="18" creationId="{F6F2A91A-CE4A-5B32-5011-9E94214D716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24" creationId="{4318A952-A3B7-1777-6453-931747D02D1E}"/>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0" creationId="{1915A0C8-9419-C7AD-D3E1-83CFAEC77A44}"/>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3" creationId="{D19EECE6-254E-49CD-0954-2FF1EB8394B8}"/>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9" creationId="{4BB8F730-2294-2BB6-31E9-6C5CD1F8760C}"/>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42" creationId="{13A6E390-93FA-DA58-F68C-B5F177D1BD2C}"/>
          </ac:cxnSpMkLst>
        </pc:cxnChg>
        <pc:cxnChg chg="add mod">
          <ac:chgData name="Jacob, Karen (SPAC/PSPC) (elle-la / she-her)" userId="66e9cce0-e37b-4645-a907-f7690bd68dfb" providerId="ADAL" clId="{871AC57A-6E3B-4D85-BA02-8D6F5065EA89}" dt="2024-07-08T21:14:21.279" v="6285" actId="14100"/>
          <ac:cxnSpMkLst>
            <pc:docMk/>
            <pc:sldMk cId="3865673805" sldId="5018"/>
            <ac:cxnSpMk id="43" creationId="{7B3B1AD4-3FA7-7099-D700-61286027097C}"/>
          </ac:cxnSpMkLst>
        </pc:cxnChg>
        <pc:cxnChg chg="add del mod">
          <ac:chgData name="Jacob, Karen (SPAC/PSPC) (elle-la / she-her)" userId="66e9cce0-e37b-4645-a907-f7690bd68dfb" providerId="ADAL" clId="{871AC57A-6E3B-4D85-BA02-8D6F5065EA89}" dt="2024-07-09T17:20:56.980" v="7101" actId="11529"/>
          <ac:cxnSpMkLst>
            <pc:docMk/>
            <pc:sldMk cId="3865673805" sldId="5018"/>
            <ac:cxnSpMk id="61" creationId="{21598DBE-DB55-C9D4-E3B3-F2675A8A507F}"/>
          </ac:cxnSpMkLst>
        </pc:cxnChg>
        <pc:cxnChg chg="add mod">
          <ac:chgData name="Jacob, Karen (SPAC/PSPC) (elle-la / she-her)" userId="66e9cce0-e37b-4645-a907-f7690bd68dfb" providerId="ADAL" clId="{871AC57A-6E3B-4D85-BA02-8D6F5065EA89}" dt="2024-07-09T17:22:08.040" v="7120" actId="14100"/>
          <ac:cxnSpMkLst>
            <pc:docMk/>
            <pc:sldMk cId="3865673805" sldId="5018"/>
            <ac:cxnSpMk id="63" creationId="{B32AA51F-1724-BA56-E823-B032DD85AA41}"/>
          </ac:cxnSpMkLst>
        </pc:cxnChg>
      </pc:sldChg>
      <pc:sldChg chg="modSp new mod">
        <pc:chgData name="Jacob, Karen (SPAC/PSPC) (elle-la / she-her)" userId="66e9cce0-e37b-4645-a907-f7690bd68dfb" providerId="ADAL" clId="{871AC57A-6E3B-4D85-BA02-8D6F5065EA89}" dt="2024-06-21T15:18:15.641" v="4370" actId="20577"/>
        <pc:sldMkLst>
          <pc:docMk/>
          <pc:sldMk cId="4127869610" sldId="5019"/>
        </pc:sldMkLst>
        <pc:spChg chg="mod">
          <ac:chgData name="Jacob, Karen (SPAC/PSPC) (elle-la / she-her)" userId="66e9cce0-e37b-4645-a907-f7690bd68dfb" providerId="ADAL" clId="{871AC57A-6E3B-4D85-BA02-8D6F5065EA89}" dt="2024-06-21T14:47:28.555" v="3337" actId="20577"/>
          <ac:spMkLst>
            <pc:docMk/>
            <pc:sldMk cId="4127869610" sldId="5019"/>
            <ac:spMk id="2" creationId="{DDEB6BE0-BB00-FDB4-9881-EC44FA117B0C}"/>
          </ac:spMkLst>
        </pc:spChg>
        <pc:spChg chg="mod">
          <ac:chgData name="Jacob, Karen (SPAC/PSPC) (elle-la / she-her)" userId="66e9cce0-e37b-4645-a907-f7690bd68dfb" providerId="ADAL" clId="{871AC57A-6E3B-4D85-BA02-8D6F5065EA89}" dt="2024-06-21T15:18:15.641" v="4370" actId="20577"/>
          <ac:spMkLst>
            <pc:docMk/>
            <pc:sldMk cId="4127869610" sldId="5019"/>
            <ac:spMk id="4" creationId="{758B8BAE-A0B0-CD00-6894-D89E72C685C9}"/>
          </ac:spMkLst>
        </pc:spChg>
      </pc:sldChg>
      <pc:sldChg chg="add mod modShow">
        <pc:chgData name="Jacob, Karen (SPAC/PSPC) (elle-la / she-her)" userId="66e9cce0-e37b-4645-a907-f7690bd68dfb" providerId="ADAL" clId="{871AC57A-6E3B-4D85-BA02-8D6F5065EA89}" dt="2024-06-21T15:14:37.008" v="4234" actId="729"/>
        <pc:sldMkLst>
          <pc:docMk/>
          <pc:sldMk cId="1994238897" sldId="5020"/>
        </pc:sldMkLst>
      </pc:sldChg>
      <pc:sldChg chg="add del">
        <pc:chgData name="Jacob, Karen (SPAC/PSPC) (elle-la / she-her)" userId="66e9cce0-e37b-4645-a907-f7690bd68dfb" providerId="ADAL" clId="{871AC57A-6E3B-4D85-BA02-8D6F5065EA89}" dt="2024-06-21T15:10:01.329" v="4070"/>
        <pc:sldMkLst>
          <pc:docMk/>
          <pc:sldMk cId="1305863165" sldId="5021"/>
        </pc:sldMkLst>
      </pc:sldChg>
      <pc:sldChg chg="new del">
        <pc:chgData name="Jacob, Karen (SPAC/PSPC) (elle-la / she-her)" userId="66e9cce0-e37b-4645-a907-f7690bd68dfb" providerId="ADAL" clId="{871AC57A-6E3B-4D85-BA02-8D6F5065EA89}" dt="2024-06-21T15:19:18.913" v="4376" actId="47"/>
        <pc:sldMkLst>
          <pc:docMk/>
          <pc:sldMk cId="1841768326" sldId="5021"/>
        </pc:sldMkLst>
      </pc:sldChg>
      <pc:sldChg chg="modSp new mod">
        <pc:chgData name="Jacob, Karen (SPAC/PSPC) (elle-la / she-her)" userId="66e9cce0-e37b-4645-a907-f7690bd68dfb" providerId="ADAL" clId="{871AC57A-6E3B-4D85-BA02-8D6F5065EA89}" dt="2024-06-21T15:27:09.381" v="4708" actId="20577"/>
        <pc:sldMkLst>
          <pc:docMk/>
          <pc:sldMk cId="3253347275" sldId="5021"/>
        </pc:sldMkLst>
        <pc:spChg chg="mod">
          <ac:chgData name="Jacob, Karen (SPAC/PSPC) (elle-la / she-her)" userId="66e9cce0-e37b-4645-a907-f7690bd68dfb" providerId="ADAL" clId="{871AC57A-6E3B-4D85-BA02-8D6F5065EA89}" dt="2024-06-21T15:27:09.381" v="4708" actId="20577"/>
          <ac:spMkLst>
            <pc:docMk/>
            <pc:sldMk cId="3253347275" sldId="5021"/>
            <ac:spMk id="2" creationId="{ECE54B41-AB8B-A396-0E3C-85310818D719}"/>
          </ac:spMkLst>
        </pc:spChg>
        <pc:spChg chg="mod">
          <ac:chgData name="Jacob, Karen (SPAC/PSPC) (elle-la / she-her)" userId="66e9cce0-e37b-4645-a907-f7690bd68dfb" providerId="ADAL" clId="{871AC57A-6E3B-4D85-BA02-8D6F5065EA89}" dt="2024-06-21T15:23:10.502" v="4468" actId="2710"/>
          <ac:spMkLst>
            <pc:docMk/>
            <pc:sldMk cId="3253347275" sldId="5021"/>
            <ac:spMk id="4" creationId="{0CE857C5-5305-BDE2-C963-749573E23040}"/>
          </ac:spMkLst>
        </pc:spChg>
      </pc:sldChg>
      <pc:sldChg chg="add del">
        <pc:chgData name="Jacob, Karen (SPAC/PSPC) (elle-la / she-her)" userId="66e9cce0-e37b-4645-a907-f7690bd68dfb" providerId="ADAL" clId="{871AC57A-6E3B-4D85-BA02-8D6F5065EA89}" dt="2024-06-21T15:10:12.424" v="4073"/>
        <pc:sldMkLst>
          <pc:docMk/>
          <pc:sldMk cId="4238139827" sldId="5021"/>
        </pc:sldMkLst>
      </pc:sldChg>
    </pc:docChg>
  </pc:docChgLst>
  <pc:docChgLst>
    <pc:chgData name="Elgee, Jeffrey (SPAC/PSPC)" userId="S::jeffrey.elgee@tpsgc-pwgsc.gc.ca::e10f0e9c-c03f-4fde-9113-11216b420c44" providerId="AD" clId="Web-{73F3E55C-C504-794F-9A03-CF4AD1E1811A}"/>
    <pc:docChg chg="addSld modSld">
      <pc:chgData name="Elgee, Jeffrey (SPAC/PSPC)" userId="S::jeffrey.elgee@tpsgc-pwgsc.gc.ca::e10f0e9c-c03f-4fde-9113-11216b420c44" providerId="AD" clId="Web-{73F3E55C-C504-794F-9A03-CF4AD1E1811A}" dt="2024-06-10T19:45:19.157" v="124" actId="20577"/>
      <pc:docMkLst>
        <pc:docMk/>
      </pc:docMkLst>
      <pc:sldChg chg="modSp">
        <pc:chgData name="Elgee, Jeffrey (SPAC/PSPC)" userId="S::jeffrey.elgee@tpsgc-pwgsc.gc.ca::e10f0e9c-c03f-4fde-9113-11216b420c44" providerId="AD" clId="Web-{73F3E55C-C504-794F-9A03-CF4AD1E1811A}" dt="2024-06-10T19:06:18.949" v="30" actId="20577"/>
        <pc:sldMkLst>
          <pc:docMk/>
          <pc:sldMk cId="3291831031" sldId="4970"/>
        </pc:sldMkLst>
        <pc:spChg chg="mod">
          <ac:chgData name="Elgee, Jeffrey (SPAC/PSPC)" userId="S::jeffrey.elgee@tpsgc-pwgsc.gc.ca::e10f0e9c-c03f-4fde-9113-11216b420c44" providerId="AD" clId="Web-{73F3E55C-C504-794F-9A03-CF4AD1E1811A}" dt="2024-06-10T19:06:18.949" v="30" actId="20577"/>
          <ac:spMkLst>
            <pc:docMk/>
            <pc:sldMk cId="3291831031" sldId="4970"/>
            <ac:spMk id="6" creationId="{1E046C2E-5794-1A98-BBEA-235FF863B218}"/>
          </ac:spMkLst>
        </pc:spChg>
      </pc:sldChg>
      <pc:sldChg chg="modSp">
        <pc:chgData name="Elgee, Jeffrey (SPAC/PSPC)" userId="S::jeffrey.elgee@tpsgc-pwgsc.gc.ca::e10f0e9c-c03f-4fde-9113-11216b420c44" providerId="AD" clId="Web-{73F3E55C-C504-794F-9A03-CF4AD1E1811A}" dt="2024-06-10T19:33:04.554" v="38" actId="20577"/>
        <pc:sldMkLst>
          <pc:docMk/>
          <pc:sldMk cId="388099589" sldId="4992"/>
        </pc:sldMkLst>
        <pc:spChg chg="mod">
          <ac:chgData name="Elgee, Jeffrey (SPAC/PSPC)" userId="S::jeffrey.elgee@tpsgc-pwgsc.gc.ca::e10f0e9c-c03f-4fde-9113-11216b420c44" providerId="AD" clId="Web-{73F3E55C-C504-794F-9A03-CF4AD1E1811A}" dt="2024-06-10T19:33:04.554" v="38" actId="20577"/>
          <ac:spMkLst>
            <pc:docMk/>
            <pc:sldMk cId="388099589" sldId="4992"/>
            <ac:spMk id="15" creationId="{2A224E51-C8E2-AF04-0A70-65F6548C9FA5}"/>
          </ac:spMkLst>
        </pc:spChg>
      </pc:sldChg>
      <pc:sldChg chg="addSp delSp modSp add replId">
        <pc:chgData name="Elgee, Jeffrey (SPAC/PSPC)" userId="S::jeffrey.elgee@tpsgc-pwgsc.gc.ca::e10f0e9c-c03f-4fde-9113-11216b420c44" providerId="AD" clId="Web-{73F3E55C-C504-794F-9A03-CF4AD1E1811A}" dt="2024-06-10T19:45:19.157" v="124" actId="20577"/>
        <pc:sldMkLst>
          <pc:docMk/>
          <pc:sldMk cId="1228329092" sldId="5013"/>
        </pc:sldMkLst>
        <pc:spChg chg="add mod">
          <ac:chgData name="Elgee, Jeffrey (SPAC/PSPC)" userId="S::jeffrey.elgee@tpsgc-pwgsc.gc.ca::e10f0e9c-c03f-4fde-9113-11216b420c44" providerId="AD" clId="Web-{73F3E55C-C504-794F-9A03-CF4AD1E1811A}" dt="2024-06-10T19:45:19.157" v="124" actId="20577"/>
          <ac:spMkLst>
            <pc:docMk/>
            <pc:sldMk cId="1228329092" sldId="5013"/>
            <ac:spMk id="2" creationId="{2BFF691A-0106-26B8-89C1-55A17307E3C2}"/>
          </ac:spMkLst>
        </pc:spChg>
        <pc:spChg chg="del mod">
          <ac:chgData name="Elgee, Jeffrey (SPAC/PSPC)" userId="S::jeffrey.elgee@tpsgc-pwgsc.gc.ca::e10f0e9c-c03f-4fde-9113-11216b420c44" providerId="AD" clId="Web-{73F3E55C-C504-794F-9A03-CF4AD1E1811A}" dt="2024-06-10T19:34:05.756" v="42"/>
          <ac:spMkLst>
            <pc:docMk/>
            <pc:sldMk cId="1228329092" sldId="5013"/>
            <ac:spMk id="15" creationId="{2A224E51-C8E2-AF04-0A70-65F6548C9FA5}"/>
          </ac:spMkLst>
        </pc:spChg>
        <pc:spChg chg="mod">
          <ac:chgData name="Elgee, Jeffrey (SPAC/PSPC)" userId="S::jeffrey.elgee@tpsgc-pwgsc.gc.ca::e10f0e9c-c03f-4fde-9113-11216b420c44" providerId="AD" clId="Web-{73F3E55C-C504-794F-9A03-CF4AD1E1811A}" dt="2024-06-10T19:34:11.256" v="47" actId="1076"/>
          <ac:spMkLst>
            <pc:docMk/>
            <pc:sldMk cId="1228329092" sldId="5013"/>
            <ac:spMk id="16" creationId="{DDBAA832-5D5B-F155-4F32-06C89A6062D9}"/>
          </ac:spMkLst>
        </pc:spChg>
        <pc:spChg chg="mod">
          <ac:chgData name="Elgee, Jeffrey (SPAC/PSPC)" userId="S::jeffrey.elgee@tpsgc-pwgsc.gc.ca::e10f0e9c-c03f-4fde-9113-11216b420c44" providerId="AD" clId="Web-{73F3E55C-C504-794F-9A03-CF4AD1E1811A}" dt="2024-06-10T19:34:11.256" v="48" actId="1076"/>
          <ac:spMkLst>
            <pc:docMk/>
            <pc:sldMk cId="1228329092" sldId="5013"/>
            <ac:spMk id="17" creationId="{03D46260-31B6-3CBA-D6E4-2A34CD363B83}"/>
          </ac:spMkLst>
        </pc:spChg>
        <pc:spChg chg="mod">
          <ac:chgData name="Elgee, Jeffrey (SPAC/PSPC)" userId="S::jeffrey.elgee@tpsgc-pwgsc.gc.ca::e10f0e9c-c03f-4fde-9113-11216b420c44" providerId="AD" clId="Web-{73F3E55C-C504-794F-9A03-CF4AD1E1811A}" dt="2024-06-10T19:34:11.272" v="49" actId="1076"/>
          <ac:spMkLst>
            <pc:docMk/>
            <pc:sldMk cId="1228329092" sldId="5013"/>
            <ac:spMk id="18" creationId="{4EF912C3-D6D2-8ADB-9455-F0BB3EFD9484}"/>
          </ac:spMkLst>
        </pc:spChg>
        <pc:spChg chg="mod">
          <ac:chgData name="Elgee, Jeffrey (SPAC/PSPC)" userId="S::jeffrey.elgee@tpsgc-pwgsc.gc.ca::e10f0e9c-c03f-4fde-9113-11216b420c44" providerId="AD" clId="Web-{73F3E55C-C504-794F-9A03-CF4AD1E1811A}" dt="2024-06-10T19:34:11.272" v="50" actId="1076"/>
          <ac:spMkLst>
            <pc:docMk/>
            <pc:sldMk cId="1228329092" sldId="5013"/>
            <ac:spMk id="19" creationId="{5DABBC32-D0F2-5FB4-F32B-6ACB5C70FCBB}"/>
          </ac:spMkLst>
        </pc:spChg>
        <pc:picChg chg="mod">
          <ac:chgData name="Elgee, Jeffrey (SPAC/PSPC)" userId="S::jeffrey.elgee@tpsgc-pwgsc.gc.ca::e10f0e9c-c03f-4fde-9113-11216b420c44" providerId="AD" clId="Web-{73F3E55C-C504-794F-9A03-CF4AD1E1811A}" dt="2024-06-10T19:34:11.225" v="43" actId="1076"/>
          <ac:picMkLst>
            <pc:docMk/>
            <pc:sldMk cId="1228329092" sldId="5013"/>
            <ac:picMk id="9" creationId="{CFECC87B-723E-8826-6C4D-682E01302215}"/>
          </ac:picMkLst>
        </pc:picChg>
        <pc:picChg chg="mod">
          <ac:chgData name="Elgee, Jeffrey (SPAC/PSPC)" userId="S::jeffrey.elgee@tpsgc-pwgsc.gc.ca::e10f0e9c-c03f-4fde-9113-11216b420c44" providerId="AD" clId="Web-{73F3E55C-C504-794F-9A03-CF4AD1E1811A}" dt="2024-06-10T19:34:11.241" v="44" actId="1076"/>
          <ac:picMkLst>
            <pc:docMk/>
            <pc:sldMk cId="1228329092" sldId="5013"/>
            <ac:picMk id="10" creationId="{EE1B7117-FE8F-8104-AF1D-A9871CD54FDE}"/>
          </ac:picMkLst>
        </pc:picChg>
        <pc:picChg chg="mod">
          <ac:chgData name="Elgee, Jeffrey (SPAC/PSPC)" userId="S::jeffrey.elgee@tpsgc-pwgsc.gc.ca::e10f0e9c-c03f-4fde-9113-11216b420c44" providerId="AD" clId="Web-{73F3E55C-C504-794F-9A03-CF4AD1E1811A}" dt="2024-06-10T19:34:11.241" v="45" actId="1076"/>
          <ac:picMkLst>
            <pc:docMk/>
            <pc:sldMk cId="1228329092" sldId="5013"/>
            <ac:picMk id="11" creationId="{0A95C047-D6CC-A24A-9FFE-34EA9062B06B}"/>
          </ac:picMkLst>
        </pc:picChg>
        <pc:picChg chg="mod">
          <ac:chgData name="Elgee, Jeffrey (SPAC/PSPC)" userId="S::jeffrey.elgee@tpsgc-pwgsc.gc.ca::e10f0e9c-c03f-4fde-9113-11216b420c44" providerId="AD" clId="Web-{73F3E55C-C504-794F-9A03-CF4AD1E1811A}" dt="2024-06-10T19:34:11.256" v="46" actId="1076"/>
          <ac:picMkLst>
            <pc:docMk/>
            <pc:sldMk cId="1228329092" sldId="5013"/>
            <ac:picMk id="13" creationId="{1BFE9BF1-5E6A-A995-0D24-DB7A9C3633D8}"/>
          </ac:picMkLst>
        </pc:picChg>
      </pc:sldChg>
    </pc:docChg>
  </pc:docChgLst>
  <pc:docChgLst>
    <pc:chgData name="Elgee, Jeffrey (SPAC/PSPC)" userId="S::jeffrey.elgee@tpsgc-pwgsc.gc.ca::e10f0e9c-c03f-4fde-9113-11216b420c44" providerId="AD" clId="Web-{3F61CFF4-68B2-77AD-BEE0-B6951A0738B3}"/>
    <pc:docChg chg="modSld">
      <pc:chgData name="Elgee, Jeffrey (SPAC/PSPC)" userId="S::jeffrey.elgee@tpsgc-pwgsc.gc.ca::e10f0e9c-c03f-4fde-9113-11216b420c44" providerId="AD" clId="Web-{3F61CFF4-68B2-77AD-BEE0-B6951A0738B3}" dt="2024-06-12T20:29:06.126" v="10" actId="20577"/>
      <pc:docMkLst>
        <pc:docMk/>
      </pc:docMkLst>
      <pc:sldChg chg="modSp modCm">
        <pc:chgData name="Elgee, Jeffrey (SPAC/PSPC)" userId="S::jeffrey.elgee@tpsgc-pwgsc.gc.ca::e10f0e9c-c03f-4fde-9113-11216b420c44" providerId="AD" clId="Web-{3F61CFF4-68B2-77AD-BEE0-B6951A0738B3}" dt="2024-06-12T20:29:06.126" v="10" actId="20577"/>
        <pc:sldMkLst>
          <pc:docMk/>
          <pc:sldMk cId="3633628159" sldId="4991"/>
        </pc:sldMkLst>
        <pc:spChg chg="mod">
          <ac:chgData name="Elgee, Jeffrey (SPAC/PSPC)" userId="S::jeffrey.elgee@tpsgc-pwgsc.gc.ca::e10f0e9c-c03f-4fde-9113-11216b420c44" providerId="AD" clId="Web-{3F61CFF4-68B2-77AD-BEE0-B6951A0738B3}" dt="2024-06-12T20:29:06.126" v="10" actId="20577"/>
          <ac:spMkLst>
            <pc:docMk/>
            <pc:sldMk cId="3633628159" sldId="4991"/>
            <ac:spMk id="3" creationId="{DCBEA1C2-5E98-4F88-5BBE-88BF7785297A}"/>
          </ac:spMkLst>
        </pc:spChg>
        <pc:extLst>
          <p:ext xmlns:p="http://schemas.openxmlformats.org/presentationml/2006/main" uri="{D6D511B9-2390-475A-947B-AFAB55BFBCF1}">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D2CE9BCC-9530-493F-BC3F-9D47F64F0084}"/>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3/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N°›</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N°›</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520096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3670353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rcRect/>
          <a:stretch/>
        </p:blipFill>
        <p:spPr>
          <a:xfrm>
            <a:off x="10985653" y="136042"/>
            <a:ext cx="973127" cy="333741"/>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0" kern="1200">
          <a:solidFill>
            <a:schemeClr val="accent5"/>
          </a:solidFill>
          <a:latin typeface="Arial Rounded MT Bold" panose="020F070403050403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1.xml"/><Relationship Id="rId7"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2.xml"/><Relationship Id="rId4" Type="http://schemas.openxmlformats.org/officeDocument/2006/relationships/image" Target="../media/image26.svg"/></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canada.ca/en/government/publicservice/modernizing/hybrid-work/common-hybrid-work-model.html"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CA" sz="3200" b="0" dirty="0">
                <a:solidFill>
                  <a:schemeClr val="bg1"/>
                </a:solidFill>
                <a:latin typeface="Arial Rounded MT Bold" panose="020F0704030504030204" pitchFamily="34" charset="0"/>
              </a:rPr>
              <a:t>Our Workplace </a:t>
            </a:r>
            <a:r>
              <a:rPr lang="en-CA" sz="3200" dirty="0">
                <a:solidFill>
                  <a:schemeClr val="bg1"/>
                </a:solidFill>
              </a:rPr>
              <a:t>Optimization project</a:t>
            </a:r>
            <a:endParaRPr lang="en-CA" sz="3200" b="0" dirty="0">
              <a:solidFill>
                <a:schemeClr val="bg1"/>
              </a:solidFill>
              <a:latin typeface="Arial Rounded MT Bold" panose="020F0704030504030204" pitchFamily="34" charset="0"/>
            </a:endParaRPr>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resented by: Name of the sponsor</a:t>
            </a:r>
          </a:p>
        </p:txBody>
      </p:sp>
      <p:sp>
        <p:nvSpPr>
          <p:cNvPr id="7" name="Text Placeholder 6"/>
          <p:cNvSpPr>
            <a:spLocks noGrp="1"/>
          </p:cNvSpPr>
          <p:nvPr>
            <p:ph type="body" sz="quarter" idx="13"/>
          </p:nvPr>
        </p:nvSpPr>
        <p:spPr>
          <a:xfrm>
            <a:off x="545307" y="4188370"/>
            <a:ext cx="3494087" cy="526957"/>
          </a:xfrm>
        </p:spPr>
        <p:txBody>
          <a:bodyPr/>
          <a:lstStyle/>
          <a:p>
            <a:r>
              <a:rPr lang="fr-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MONTH YEAR</a:t>
            </a:r>
            <a:endPar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4" name="Picture 13">
            <a:hlinkClick r:id="rId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grpSp>
        <p:nvGrpSpPr>
          <p:cNvPr id="11" name="Group 10">
            <a:extLst>
              <a:ext uri="{FF2B5EF4-FFF2-40B4-BE49-F238E27FC236}">
                <a16:creationId xmlns:a16="http://schemas.microsoft.com/office/drawing/2014/main" id="{4BB54C6B-1537-5ED6-FAB3-0D29D2D064EA}"/>
              </a:ext>
              <a:ext uri="{C183D7F6-B498-43B3-948B-1728B52AA6E4}">
                <adec:decorative xmlns:adec="http://schemas.microsoft.com/office/drawing/2017/decorative" val="1"/>
              </a:ext>
            </a:extLst>
          </p:cNvPr>
          <p:cNvGrpSpPr/>
          <p:nvPr/>
        </p:nvGrpSpPr>
        <p:grpSpPr>
          <a:xfrm>
            <a:off x="1588" y="1588"/>
            <a:ext cx="2196206" cy="853438"/>
            <a:chOff x="1588" y="1588"/>
            <a:chExt cx="2196206" cy="853438"/>
          </a:xfrm>
        </p:grpSpPr>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03675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13" name="Picture 12">
              <a:extLs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982494" y="206641"/>
              <a:ext cx="1215300" cy="646913"/>
            </a:xfrm>
            <a:prstGeom prst="rect">
              <a:avLst/>
            </a:prstGeom>
          </p:spPr>
        </p:pic>
        <p:pic>
          <p:nvPicPr>
            <p:cNvPr id="10" name="Picture 9">
              <a:extLst>
                <a:ext uri="{FF2B5EF4-FFF2-40B4-BE49-F238E27FC236}">
                  <a16:creationId xmlns:a16="http://schemas.microsoft.com/office/drawing/2014/main" id="{5006D040-847C-E98D-2D45-EA89F75532AA}"/>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EB6BE0-BB00-FDB4-9881-EC44FA117B0C}"/>
              </a:ext>
            </a:extLst>
          </p:cNvPr>
          <p:cNvSpPr>
            <a:spLocks noGrp="1"/>
          </p:cNvSpPr>
          <p:nvPr>
            <p:ph type="title"/>
          </p:nvPr>
        </p:nvSpPr>
        <p:spPr>
          <a:xfrm>
            <a:off x="450666" y="3204680"/>
            <a:ext cx="11115674" cy="939581"/>
          </a:xfrm>
        </p:spPr>
        <p:txBody>
          <a:bodyPr>
            <a:normAutofit fontScale="90000"/>
          </a:bodyPr>
          <a:lstStyle/>
          <a:p>
            <a:r>
              <a:rPr lang="en-CA" dirty="0"/>
              <a:t>Leadership’s role from a change management perspective</a:t>
            </a:r>
          </a:p>
        </p:txBody>
      </p:sp>
    </p:spTree>
    <p:extLst>
      <p:ext uri="{BB962C8B-B14F-4D97-AF65-F5344CB8AC3E}">
        <p14:creationId xmlns:p14="http://schemas.microsoft.com/office/powerpoint/2010/main" val="4127869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nvPr>
        </p:nvSpPr>
        <p:spPr/>
        <p:txBody>
          <a:bodyPr>
            <a:normAutofit/>
          </a:bodyPr>
          <a:lstStyle/>
          <a:p>
            <a:r>
              <a:rPr lang="en-CA" sz="3200" dirty="0"/>
              <a:t>My role as Sponsor of the optimization project</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Build the governance around the project and supervise the project team</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Oversee the Change management strategy</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Show my commitment to this project and lead by example - I will release my assigned office </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Communicate the vision, inform and provide updates on the project</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Make sure leaders and managers are well equipped to support the teams </a:t>
            </a:r>
          </a:p>
          <a:p>
            <a:endParaRPr lang="en-CA" dirty="0">
              <a:latin typeface="Calibri"/>
              <a:cs typeface="Calibri"/>
            </a:endParaRPr>
          </a:p>
        </p:txBody>
      </p:sp>
      <p:grpSp>
        <p:nvGrpSpPr>
          <p:cNvPr id="18" name="Group 17">
            <a:extLst>
              <a:ext uri="{FF2B5EF4-FFF2-40B4-BE49-F238E27FC236}">
                <a16:creationId xmlns:a16="http://schemas.microsoft.com/office/drawing/2014/main" id="{5BB48D31-9A38-0DD7-71BA-6923707ED727}"/>
              </a:ext>
              <a:ext uri="{C183D7F6-B498-43B3-948B-1728B52AA6E4}">
                <adec:decorative xmlns:adec="http://schemas.microsoft.com/office/drawing/2017/decorative" val="1"/>
              </a:ext>
            </a:extLst>
          </p:cNvPr>
          <p:cNvGrpSpPr/>
          <p:nvPr/>
        </p:nvGrpSpPr>
        <p:grpSpPr>
          <a:xfrm>
            <a:off x="6676462" y="1470032"/>
            <a:ext cx="3843977" cy="4837107"/>
            <a:chOff x="6676462" y="1470032"/>
            <a:chExt cx="3843977" cy="4837107"/>
          </a:xfrm>
        </p:grpSpPr>
        <p:sp>
          <p:nvSpPr>
            <p:cNvPr id="2" name="Oval 1">
              <a:extLst>
                <a:ext uri="{FF2B5EF4-FFF2-40B4-BE49-F238E27FC236}">
                  <a16:creationId xmlns:a16="http://schemas.microsoft.com/office/drawing/2014/main" id="{C301AA33-6A30-AB3E-C776-0E493CEF5F2A}"/>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Ellipse 5">
              <a:extLst>
                <a:ext uri="{FF2B5EF4-FFF2-40B4-BE49-F238E27FC236}">
                  <a16:creationId xmlns:a16="http://schemas.microsoft.com/office/drawing/2014/main" id="{7D752629-BEEA-E8C2-10E0-EF6C6D24C9FA}"/>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Ellipse 21">
              <a:extLst>
                <a:ext uri="{FF2B5EF4-FFF2-40B4-BE49-F238E27FC236}">
                  <a16:creationId xmlns:a16="http://schemas.microsoft.com/office/drawing/2014/main" id="{EE7E1DAB-29FF-5B67-85B4-4984C180F89E}"/>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8" name="Group 7">
              <a:extLst>
                <a:ext uri="{FF2B5EF4-FFF2-40B4-BE49-F238E27FC236}">
                  <a16:creationId xmlns:a16="http://schemas.microsoft.com/office/drawing/2014/main" id="{18E89C66-3090-DBBB-16D4-ADB8F41C9D33}"/>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9" name="Straight Connector 8">
                <a:extLst>
                  <a:ext uri="{FF2B5EF4-FFF2-40B4-BE49-F238E27FC236}">
                    <a16:creationId xmlns:a16="http://schemas.microsoft.com/office/drawing/2014/main" id="{B3582EEC-42E9-2DD7-F0A7-E5E9A53AB585}"/>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C7E441-722B-41C3-9466-2D6768876013}"/>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3E90E1B-5DB7-1531-4319-867D40AEC134}"/>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2" name="Graphic 11">
              <a:extLst>
                <a:ext uri="{FF2B5EF4-FFF2-40B4-BE49-F238E27FC236}">
                  <a16:creationId xmlns:a16="http://schemas.microsoft.com/office/drawing/2014/main" id="{0CA9E75F-2B00-6848-3047-49462E93A71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97956" y="1470032"/>
              <a:ext cx="1636758" cy="1636758"/>
            </a:xfrm>
            <a:prstGeom prst="rect">
              <a:avLst/>
            </a:prstGeom>
          </p:spPr>
        </p:pic>
        <p:pic>
          <p:nvPicPr>
            <p:cNvPr id="13" name="Graphic 12">
              <a:extLst>
                <a:ext uri="{FF2B5EF4-FFF2-40B4-BE49-F238E27FC236}">
                  <a16:creationId xmlns:a16="http://schemas.microsoft.com/office/drawing/2014/main" id="{3348626F-3DCC-5CC9-0E28-2AF5212FF8D5}"/>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12519" y="4838241"/>
              <a:ext cx="1468898" cy="1468898"/>
            </a:xfrm>
            <a:prstGeom prst="rect">
              <a:avLst/>
            </a:prstGeom>
          </p:spPr>
        </p:pic>
        <p:pic>
          <p:nvPicPr>
            <p:cNvPr id="14" name="Graphic 13">
              <a:extLst>
                <a:ext uri="{FF2B5EF4-FFF2-40B4-BE49-F238E27FC236}">
                  <a16:creationId xmlns:a16="http://schemas.microsoft.com/office/drawing/2014/main" id="{FE3E1CE8-93B7-01CC-15B5-1BBC903F2AB9}"/>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8990" y="3229398"/>
              <a:ext cx="1171449" cy="1171449"/>
            </a:xfrm>
            <a:prstGeom prst="rect">
              <a:avLst/>
            </a:prstGeom>
          </p:spPr>
        </p:pic>
        <p:sp>
          <p:nvSpPr>
            <p:cNvPr id="15" name="Oval 14">
              <a:extLst>
                <a:ext uri="{FF2B5EF4-FFF2-40B4-BE49-F238E27FC236}">
                  <a16:creationId xmlns:a16="http://schemas.microsoft.com/office/drawing/2014/main" id="{EB612081-FCA4-47D6-A1C2-5B0B85CCB87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6" name="Graphic 15">
              <a:extLst>
                <a:ext uri="{FF2B5EF4-FFF2-40B4-BE49-F238E27FC236}">
                  <a16:creationId xmlns:a16="http://schemas.microsoft.com/office/drawing/2014/main" id="{8BF32A78-A86F-77B6-554F-4B4B34FF832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vert="horz" lIns="91440" tIns="45720" rIns="91440" bIns="45720" rtlCol="0" anchor="ctr">
            <a:normAutofit/>
          </a:bodyPr>
          <a:lstStyle/>
          <a:p>
            <a:r>
              <a:rPr lang="en-US" sz="3200" dirty="0">
                <a:solidFill>
                  <a:schemeClr val="accent5">
                    <a:lumMod val="75000"/>
                  </a:schemeClr>
                </a:solidFill>
                <a:latin typeface="+mj-lt"/>
                <a:cs typeface="+mj-cs"/>
              </a:rPr>
              <a:t>Your Role as an Executive</a:t>
            </a:r>
          </a:p>
        </p:txBody>
      </p:sp>
      <p:sp>
        <p:nvSpPr>
          <p:cNvPr id="6" name="Text Placeholder 5">
            <a:extLst>
              <a:ext uri="{FF2B5EF4-FFF2-40B4-BE49-F238E27FC236}">
                <a16:creationId xmlns:a16="http://schemas.microsoft.com/office/drawing/2014/main" id="{1E046C2E-5794-1A98-BBEA-235FF863B218}"/>
              </a:ext>
            </a:extLst>
          </p:cNvPr>
          <p:cNvSpPr>
            <a:spLocks noGrp="1"/>
          </p:cNvSpPr>
          <p:nvPr>
            <p:ph type="body" sz="half" idx="2"/>
          </p:nvPr>
        </p:nvSpPr>
        <p:spPr>
          <a:xfrm>
            <a:off x="582392" y="2349451"/>
            <a:ext cx="5109570" cy="2953636"/>
          </a:xfrm>
        </p:spPr>
        <p:txBody>
          <a:bodyPr lIns="91440" tIns="45720" rIns="91440" bIns="45720" anchor="t">
            <a:normAutofit/>
          </a:bodyPr>
          <a:lstStyle/>
          <a:p>
            <a:pPr>
              <a:lnSpc>
                <a:spcPct val="90000"/>
              </a:lnSpc>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As executives and senior leaders, you play an essential role in these times of change.</a:t>
            </a:r>
          </a:p>
          <a:p>
            <a:pPr>
              <a:lnSpc>
                <a:spcPct val="90000"/>
              </a:lnSpc>
              <a:spcAft>
                <a:spcPts val="600"/>
              </a:spcAft>
            </a:pPr>
            <a:r>
              <a:rPr lang="en-US" sz="1800" dirty="0">
                <a:latin typeface="Calibri" panose="020F0502020204030204" pitchFamily="34" charset="0"/>
                <a:ea typeface="Calibri" panose="020F0502020204030204" pitchFamily="34" charset="0"/>
                <a:cs typeface="Calibri" panose="020F0502020204030204" pitchFamily="34" charset="0"/>
              </a:rPr>
              <a:t>Employees will </a:t>
            </a:r>
            <a:r>
              <a:rPr lang="en-US" sz="1800" dirty="0">
                <a:effectLst/>
                <a:latin typeface="Calibri" panose="020F0502020204030204" pitchFamily="34" charset="0"/>
                <a:ea typeface="Calibri" panose="020F0502020204030204" pitchFamily="34" charset="0"/>
                <a:cs typeface="Calibri" panose="020F0502020204030204" pitchFamily="34" charset="0"/>
              </a:rPr>
              <a:t>look to its leaders to </a:t>
            </a:r>
            <a:r>
              <a:rPr lang="en-US" sz="1800" dirty="0">
                <a:latin typeface="Calibri" panose="020F0502020204030204" pitchFamily="34" charset="0"/>
                <a:ea typeface="Calibri" panose="020F0502020204030204" pitchFamily="34" charset="0"/>
                <a:cs typeface="Calibri" panose="020F0502020204030204" pitchFamily="34" charset="0"/>
              </a:rPr>
              <a:t>be engaged in the change and</a:t>
            </a:r>
            <a:r>
              <a:rPr lang="en-US" sz="1800" dirty="0">
                <a:effectLst/>
                <a:latin typeface="Calibri" panose="020F0502020204030204" pitchFamily="34" charset="0"/>
                <a:ea typeface="Calibri" panose="020F0502020204030204" pitchFamily="34" charset="0"/>
                <a:cs typeface="Calibri" panose="020F0502020204030204" pitchFamily="34" charset="0"/>
              </a:rPr>
              <a:t> to demonstrate why the optimization is necessary.</a:t>
            </a:r>
            <a:r>
              <a:rPr lang="en-US" sz="1800" dirty="0">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a:lnSpc>
                <a:spcPct val="90000"/>
              </a:lnSpc>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As a leader, you provide the authority and credibility necessary for a successful change</a:t>
            </a:r>
            <a:endParaRPr lang="en-US" sz="1800" dirty="0">
              <a:latin typeface="Calibri" panose="020F0502020204030204" pitchFamily="34" charset="0"/>
              <a:ea typeface="Calibri" panose="020F0502020204030204" pitchFamily="34" charset="0"/>
              <a:cs typeface="Calibri" panose="020F0502020204030204" pitchFamily="34" charset="0"/>
            </a:endParaRPr>
          </a:p>
          <a:p>
            <a:endParaRPr lang="en-CA"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Placeholder 8" descr="Sailboats following a sailboat with a red sail.">
            <a:extLst>
              <a:ext uri="{FF2B5EF4-FFF2-40B4-BE49-F238E27FC236}">
                <a16:creationId xmlns:a16="http://schemas.microsoft.com/office/drawing/2014/main" id="{013C9C46-AB96-1193-BAA4-09DB126E5274}"/>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6419652" y="2075065"/>
            <a:ext cx="4806167" cy="2953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91831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7F99B2-4BB8-F561-E89D-85B8AF383FB1}"/>
              </a:ext>
            </a:extLst>
          </p:cNvPr>
          <p:cNvSpPr>
            <a:spLocks noGrp="1"/>
          </p:cNvSpPr>
          <p:nvPr>
            <p:ph type="title"/>
          </p:nvPr>
        </p:nvSpPr>
        <p:spPr>
          <a:xfrm>
            <a:off x="542878" y="550861"/>
            <a:ext cx="11313420" cy="835027"/>
          </a:xfrm>
        </p:spPr>
        <p:txBody>
          <a:bodyPr>
            <a:normAutofit/>
          </a:bodyPr>
          <a:lstStyle/>
          <a:p>
            <a:r>
              <a:rPr lang="en-CA" dirty="0"/>
              <a:t>Seize the opportunities to play your role</a:t>
            </a:r>
          </a:p>
        </p:txBody>
      </p:sp>
      <p:sp>
        <p:nvSpPr>
          <p:cNvPr id="3" name="Text Placeholder 2">
            <a:extLst>
              <a:ext uri="{FF2B5EF4-FFF2-40B4-BE49-F238E27FC236}">
                <a16:creationId xmlns:a16="http://schemas.microsoft.com/office/drawing/2014/main" id="{F1C3E258-F619-5F69-B737-122EB008B65B}"/>
              </a:ext>
            </a:extLst>
          </p:cNvPr>
          <p:cNvSpPr>
            <a:spLocks noGrp="1"/>
          </p:cNvSpPr>
          <p:nvPr>
            <p:ph type="body" sz="half" idx="2"/>
          </p:nvPr>
        </p:nvSpPr>
        <p:spPr>
          <a:xfrm>
            <a:off x="369740" y="1572732"/>
            <a:ext cx="6782427" cy="4592640"/>
          </a:xfrm>
        </p:spPr>
        <p:txBody>
          <a:bodyPr>
            <a:normAutofit lnSpcReduction="10000"/>
          </a:bodyPr>
          <a:lstStyle/>
          <a:p>
            <a:pPr marL="285750" indent="-285750">
              <a:lnSpc>
                <a:spcPct val="107000"/>
              </a:lnSpc>
              <a:spcBef>
                <a:spcPts val="0"/>
              </a:spcBef>
              <a:spcAft>
                <a:spcPts val="800"/>
              </a:spcAft>
              <a:buFont typeface="Arial" panose="020B0604020202020204" pitchFamily="34" charset="0"/>
              <a:buChar char="•"/>
            </a:pPr>
            <a:r>
              <a:rPr lang="en-CA" sz="2000" dirty="0">
                <a:effectLst/>
                <a:latin typeface="Calibri" panose="020F0502020204030204" pitchFamily="34" charset="0"/>
                <a:ea typeface="Calibri" panose="020F0502020204030204" pitchFamily="34" charset="0"/>
                <a:cs typeface="Times New Roman" panose="02020603050405020304" pitchFamily="18" charset="0"/>
              </a:rPr>
              <a:t>Regularly discuss the vision and the reasons for the optimization and change.</a:t>
            </a:r>
          </a:p>
          <a:p>
            <a:pPr marL="285750" indent="-285750">
              <a:lnSpc>
                <a:spcPct val="107000"/>
              </a:lnSpc>
              <a:spcBef>
                <a:spcPts val="0"/>
              </a:spcBef>
              <a:spcAft>
                <a:spcPts val="800"/>
              </a:spcAft>
              <a:buFont typeface="Arial" panose="020B0604020202020204" pitchFamily="34" charset="0"/>
              <a:buChar char="•"/>
            </a:pP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Take advantage of existing events and activities </a:t>
            </a:r>
            <a:r>
              <a:rPr lang="en-CA" sz="1900" kern="100" dirty="0">
                <a:latin typeface="Calibri" panose="020F0502020204030204" pitchFamily="34" charset="0"/>
                <a:ea typeface="Calibri" panose="020F0502020204030204" pitchFamily="34" charset="0"/>
                <a:cs typeface="Times New Roman" panose="02020603050405020304" pitchFamily="18" charset="0"/>
              </a:rPr>
              <a:t>to engage, consult  and involve your branch. </a:t>
            </a: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Engagement could include all-staff meetings, </a:t>
            </a:r>
            <a:r>
              <a:rPr lang="en-CA" sz="1900" kern="100" dirty="0">
                <a:latin typeface="Calibri" panose="020F0502020204030204" pitchFamily="34" charset="0"/>
                <a:ea typeface="Calibri" panose="020F0502020204030204" pitchFamily="34" charset="0"/>
                <a:cs typeface="Times New Roman" panose="02020603050405020304" pitchFamily="18" charset="0"/>
              </a:rPr>
              <a:t>management</a:t>
            </a: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 meetings, informal chats, polls, etc.</a:t>
            </a:r>
          </a:p>
          <a:p>
            <a:pPr marL="285750" indent="-285750">
              <a:lnSpc>
                <a:spcPct val="107000"/>
              </a:lnSpc>
              <a:spcBef>
                <a:spcPts val="0"/>
              </a:spcBef>
              <a:spcAft>
                <a:spcPts val="800"/>
              </a:spcAft>
              <a:buFont typeface="Arial" panose="020B0604020202020204" pitchFamily="34" charset="0"/>
              <a:buChar char="•"/>
            </a:pPr>
            <a:r>
              <a:rPr lang="en-CA" sz="1900" kern="100" dirty="0">
                <a:latin typeface="Calibri" panose="020F0502020204030204" pitchFamily="34" charset="0"/>
                <a:ea typeface="Calibri" panose="020F0502020204030204" pitchFamily="34" charset="0"/>
                <a:cs typeface="Times New Roman" panose="02020603050405020304" pitchFamily="18" charset="0"/>
              </a:rPr>
              <a:t>Stay informed, reflect how you will be using the optimised workplace differently and communicate it to your team.</a:t>
            </a:r>
          </a:p>
          <a:p>
            <a:pPr marL="285750" indent="-285750">
              <a:lnSpc>
                <a:spcPct val="107000"/>
              </a:lnSpc>
              <a:spcBef>
                <a:spcPts val="0"/>
              </a:spcBef>
              <a:spcAft>
                <a:spcPts val="800"/>
              </a:spcAft>
              <a:buFont typeface="Arial" panose="020B0604020202020204" pitchFamily="34" charset="0"/>
              <a:buChar char="•"/>
            </a:pP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Relay all information to empower and equip managers and supervisors to navigate the change and support their staff to do so. </a:t>
            </a:r>
          </a:p>
          <a:p>
            <a:pPr marL="285750" marR="0" indent="-285750">
              <a:lnSpc>
                <a:spcPct val="107000"/>
              </a:lnSpc>
              <a:spcBef>
                <a:spcPts val="0"/>
              </a:spcBef>
              <a:spcAft>
                <a:spcPts val="800"/>
              </a:spcAft>
              <a:buFont typeface="Arial" panose="020B0604020202020204" pitchFamily="34" charset="0"/>
              <a:buChar char="•"/>
            </a:pPr>
            <a:r>
              <a:rPr lang="en-CA" sz="2000" kern="1200" dirty="0">
                <a:solidFill>
                  <a:schemeClr val="tx1"/>
                </a:solidFill>
                <a:latin typeface="Calibri" panose="020F0502020204030204" pitchFamily="34" charset="0"/>
                <a:ea typeface="+mn-ea"/>
                <a:cs typeface="Times New Roman" panose="02020603050405020304" pitchFamily="18" charset="0"/>
              </a:rPr>
              <a:t>Recognize individuals/teams that have taken extra steps to achieve change</a:t>
            </a: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pic>
        <p:nvPicPr>
          <p:cNvPr id="10" name="Graphic 9" descr="A flying paper airplane">
            <a:extLst>
              <a:ext uri="{FF2B5EF4-FFF2-40B4-BE49-F238E27FC236}">
                <a16:creationId xmlns:a16="http://schemas.microsoft.com/office/drawing/2014/main" id="{2A6766A1-29EE-86F2-24DD-4E788C4A32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0260" y="1593372"/>
            <a:ext cx="4572000" cy="4572000"/>
          </a:xfrm>
          <a:prstGeom prst="rect">
            <a:avLst/>
          </a:prstGeom>
        </p:spPr>
      </p:pic>
    </p:spTree>
    <p:extLst>
      <p:ext uri="{BB962C8B-B14F-4D97-AF65-F5344CB8AC3E}">
        <p14:creationId xmlns:p14="http://schemas.microsoft.com/office/powerpoint/2010/main" val="1053501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nvPr>
        </p:nvSpPr>
        <p:spPr/>
        <p:txBody>
          <a:bodyPr/>
          <a:lstStyle/>
          <a:p>
            <a:r>
              <a:rPr lang="en-CA" dirty="0"/>
              <a:t>Practice Compassion and Grace</a:t>
            </a:r>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nvPr>
        </p:nvSpPr>
        <p:spPr>
          <a:xfrm>
            <a:off x="583797" y="2047441"/>
            <a:ext cx="5417120" cy="3143244"/>
          </a:xfrm>
        </p:spPr>
        <p:txBody>
          <a:bodyPr lIns="91440" tIns="45720" rIns="91440" bIns="45720" anchor="t">
            <a:normAutofit/>
          </a:bodyPr>
          <a:lstStyle/>
          <a:p>
            <a:pPr marL="342900" indent="-342900">
              <a:spcBef>
                <a:spcPts val="1200"/>
              </a:spcBef>
              <a:buFont typeface="Arial" panose="020B0604020202020204" pitchFamily="34" charset="0"/>
              <a:buChar char="•"/>
            </a:pPr>
            <a:r>
              <a:rPr lang="en-CA" sz="1800" dirty="0">
                <a:latin typeface="Calibri"/>
                <a:ea typeface="Calibri"/>
                <a:cs typeface="Times New Roman"/>
              </a:rPr>
              <a:t>A compassionate leader genuinely cares for their team and empathizes with their emotions and struggles. They show understanding and support while being optimistic about the future. </a:t>
            </a:r>
            <a:endParaRPr lang="en-CA" sz="1800" dirty="0"/>
          </a:p>
          <a:p>
            <a:pPr marL="342900" indent="-342900">
              <a:spcBef>
                <a:spcPts val="1200"/>
              </a:spcBef>
              <a:buFont typeface="Arial" panose="020B0604020202020204" pitchFamily="34" charset="0"/>
              <a:buChar char="•"/>
            </a:pPr>
            <a:r>
              <a:rPr lang="en-CA" sz="1800" dirty="0">
                <a:latin typeface="Calibri"/>
                <a:ea typeface="Calibri"/>
                <a:cs typeface="Times New Roman"/>
              </a:rPr>
              <a:t>A graceful leader handles difficult situations with poise and dignity and can easily adapt to unexpected events.</a:t>
            </a:r>
          </a:p>
          <a:p>
            <a:pPr marL="342900" indent="-342900">
              <a:spcBef>
                <a:spcPts val="1200"/>
              </a:spcBef>
              <a:buFont typeface="Arial" panose="020B0604020202020204" pitchFamily="34" charset="0"/>
              <a:buChar char="•"/>
            </a:pPr>
            <a:r>
              <a:rPr lang="en-CA" sz="1800" dirty="0">
                <a:latin typeface="Calibri"/>
                <a:ea typeface="Calibri"/>
                <a:cs typeface="Calibri"/>
              </a:rPr>
              <a:t>Consider: employees will all be a different point along the change curve, and their ways of integrating may be different</a:t>
            </a:r>
            <a:endParaRPr lang="en-CA" sz="1800" dirty="0">
              <a:latin typeface="Calibri"/>
              <a:ea typeface="Calibri"/>
              <a:cs typeface="Times New Roman"/>
            </a:endParaRP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5858934" y="1787709"/>
            <a:ext cx="5627820" cy="3458584"/>
          </a:xfrm>
        </p:spPr>
      </p:pic>
      <p:sp>
        <p:nvSpPr>
          <p:cNvPr id="2" name="Rectangle 1">
            <a:extLst>
              <a:ext uri="{FF2B5EF4-FFF2-40B4-BE49-F238E27FC236}">
                <a16:creationId xmlns:a16="http://schemas.microsoft.com/office/drawing/2014/main" id="{FD8450FA-87DE-CC2B-2FE8-FB60CEE777D2}"/>
              </a:ext>
              <a:ext uri="{C183D7F6-B498-43B3-948B-1728B52AA6E4}">
                <adec:decorative xmlns:adec="http://schemas.microsoft.com/office/drawing/2017/decorative" val="1"/>
              </a:ext>
            </a:extLst>
          </p:cNvPr>
          <p:cNvSpPr/>
          <p:nvPr/>
        </p:nvSpPr>
        <p:spPr>
          <a:xfrm>
            <a:off x="5858933" y="1787709"/>
            <a:ext cx="5749269" cy="3458584"/>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675530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E54B41-AB8B-A396-0E3C-85310818D719}"/>
              </a:ext>
            </a:extLst>
          </p:cNvPr>
          <p:cNvSpPr>
            <a:spLocks noGrp="1"/>
          </p:cNvSpPr>
          <p:nvPr>
            <p:ph type="title"/>
          </p:nvPr>
        </p:nvSpPr>
        <p:spPr>
          <a:xfrm>
            <a:off x="174219" y="2388782"/>
            <a:ext cx="11471976" cy="1606624"/>
          </a:xfrm>
        </p:spPr>
        <p:txBody>
          <a:bodyPr>
            <a:normAutofit fontScale="90000"/>
          </a:bodyPr>
          <a:lstStyle/>
          <a:p>
            <a:r>
              <a:rPr lang="en-CA" dirty="0"/>
              <a:t>Change management &amp; leadership impact</a:t>
            </a:r>
            <a:br>
              <a:rPr lang="en-CA" dirty="0"/>
            </a:br>
            <a:endParaRPr lang="en-CA" dirty="0"/>
          </a:p>
        </p:txBody>
      </p:sp>
      <p:sp>
        <p:nvSpPr>
          <p:cNvPr id="8" name="ZoneTexte 7">
            <a:extLst>
              <a:ext uri="{FF2B5EF4-FFF2-40B4-BE49-F238E27FC236}">
                <a16:creationId xmlns:a16="http://schemas.microsoft.com/office/drawing/2014/main" id="{BE55429A-6F3A-2285-E739-C5FAA648F760}"/>
              </a:ext>
            </a:extLst>
          </p:cNvPr>
          <p:cNvSpPr txBox="1"/>
          <p:nvPr/>
        </p:nvSpPr>
        <p:spPr>
          <a:xfrm>
            <a:off x="174219" y="3664321"/>
            <a:ext cx="6127896" cy="523220"/>
          </a:xfrm>
          <a:prstGeom prst="rect">
            <a:avLst/>
          </a:prstGeom>
          <a:noFill/>
        </p:spPr>
        <p:txBody>
          <a:bodyPr wrap="square">
            <a:spAutoFit/>
          </a:bodyPr>
          <a:lstStyle/>
          <a:p>
            <a:r>
              <a:rPr lang="en-CA" sz="2800" b="1" dirty="0"/>
              <a:t>Persona studies</a:t>
            </a:r>
          </a:p>
        </p:txBody>
      </p:sp>
    </p:spTree>
    <p:extLst>
      <p:ext uri="{BB962C8B-B14F-4D97-AF65-F5344CB8AC3E}">
        <p14:creationId xmlns:p14="http://schemas.microsoft.com/office/powerpoint/2010/main" val="3253347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ABC30-17CF-4A05-BBF2-C491854EEE86}"/>
              </a:ext>
            </a:extLst>
          </p:cNvPr>
          <p:cNvSpPr>
            <a:spLocks noGrp="1"/>
          </p:cNvSpPr>
          <p:nvPr>
            <p:ph type="title"/>
          </p:nvPr>
        </p:nvSpPr>
        <p:spPr/>
        <p:txBody>
          <a:bodyPr/>
          <a:lstStyle/>
          <a:p>
            <a:r>
              <a:rPr lang="en-US" dirty="0"/>
              <a:t>Reactions to change</a:t>
            </a:r>
            <a:endParaRPr lang="en-CA" dirty="0"/>
          </a:p>
        </p:txBody>
      </p:sp>
      <p:sp>
        <p:nvSpPr>
          <p:cNvPr id="50" name="TextBox 49">
            <a:extLst>
              <a:ext uri="{FF2B5EF4-FFF2-40B4-BE49-F238E27FC236}">
                <a16:creationId xmlns:a16="http://schemas.microsoft.com/office/drawing/2014/main" id="{DE50AACE-0335-48A5-BAF4-47E45007D9DC}"/>
              </a:ext>
            </a:extLst>
          </p:cNvPr>
          <p:cNvSpPr txBox="1"/>
          <p:nvPr/>
        </p:nvSpPr>
        <p:spPr>
          <a:xfrm>
            <a:off x="508759" y="1319942"/>
            <a:ext cx="6572669"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he change curve below demonstrates the transition that individuals can be expected to display</a:t>
            </a:r>
            <a:endParaRPr lang="en-CA" sz="1400" dirty="0">
              <a:latin typeface="Arial" panose="020B0604020202020204" pitchFamily="34" charset="0"/>
              <a:cs typeface="Arial" panose="020B0604020202020204" pitchFamily="34" charset="0"/>
            </a:endParaRPr>
          </a:p>
        </p:txBody>
      </p:sp>
      <p:grpSp>
        <p:nvGrpSpPr>
          <p:cNvPr id="39"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C2191868-CCF5-4452-B018-92CA700DC7A2}"/>
              </a:ext>
            </a:extLst>
          </p:cNvPr>
          <p:cNvGrpSpPr/>
          <p:nvPr/>
        </p:nvGrpSpPr>
        <p:grpSpPr>
          <a:xfrm>
            <a:off x="90307" y="2645202"/>
            <a:ext cx="7090223" cy="3487791"/>
            <a:chOff x="426363" y="1569720"/>
            <a:chExt cx="7090223" cy="3653056"/>
          </a:xfrm>
        </p:grpSpPr>
        <p:cxnSp>
          <p:nvCxnSpPr>
            <p:cNvPr id="10" name="Straight Arrow Connector 9">
              <a:extLst>
                <a:ext uri="{FF2B5EF4-FFF2-40B4-BE49-F238E27FC236}">
                  <a16:creationId xmlns:a16="http://schemas.microsoft.com/office/drawing/2014/main" id="{1B231655-D18E-4271-BA78-D0E1F28479E0}"/>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65D611-8F18-4B2E-BEAA-2B697479E0C8}"/>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CACA278-8846-461F-8C90-36C80E352F7E}"/>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a:extLst>
                <a:ext uri="{FF2B5EF4-FFF2-40B4-BE49-F238E27FC236}">
                  <a16:creationId xmlns:a16="http://schemas.microsoft.com/office/drawing/2014/main" id="{95A31F6C-BC75-4062-B21A-68B6ADEC68AE}"/>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Oval 15">
              <a:extLst>
                <a:ext uri="{FF2B5EF4-FFF2-40B4-BE49-F238E27FC236}">
                  <a16:creationId xmlns:a16="http://schemas.microsoft.com/office/drawing/2014/main" id="{7570F9A0-5243-45FE-82DA-2E40F6155956}"/>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a:extLst>
                <a:ext uri="{FF2B5EF4-FFF2-40B4-BE49-F238E27FC236}">
                  <a16:creationId xmlns:a16="http://schemas.microsoft.com/office/drawing/2014/main" id="{7D12F651-7641-4522-87CE-6C0EEA3B2882}"/>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8F8602EB-833B-4D25-8567-AFBFF0CFB8E1}"/>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C48292AC-ACA6-4763-92CE-02F2C17834A2}"/>
                </a:ext>
              </a:extLst>
            </p:cNvPr>
            <p:cNvSpPr txBox="1"/>
            <p:nvPr/>
          </p:nvSpPr>
          <p:spPr>
            <a:xfrm>
              <a:off x="894839" y="2035903"/>
              <a:ext cx="85725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enial</a:t>
              </a:r>
              <a:endParaRPr lang="en-CA" sz="16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120499F-6C76-4B5F-AE78-94EE93E3E65F}"/>
                </a:ext>
              </a:extLst>
            </p:cNvPr>
            <p:cNvSpPr txBox="1"/>
            <p:nvPr/>
          </p:nvSpPr>
          <p:spPr>
            <a:xfrm>
              <a:off x="1685474" y="3781820"/>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esistance</a:t>
              </a:r>
              <a:endParaRPr lang="en-CA" sz="16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A22E8F-4E55-4913-BD3E-033B7C0D2C1F}"/>
                </a:ext>
              </a:extLst>
            </p:cNvPr>
            <p:cNvSpPr txBox="1"/>
            <p:nvPr/>
          </p:nvSpPr>
          <p:spPr>
            <a:xfrm>
              <a:off x="4573983" y="1734985"/>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mitment</a:t>
              </a:r>
              <a:endParaRPr lang="en-CA" sz="16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9766194C-81AF-4510-9A27-1CB14B7DD138}"/>
                </a:ext>
              </a:extLst>
            </p:cNvPr>
            <p:cNvSpPr txBox="1"/>
            <p:nvPr/>
          </p:nvSpPr>
          <p:spPr>
            <a:xfrm>
              <a:off x="5157737" y="3331139"/>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ploration</a:t>
              </a:r>
              <a:endParaRPr lang="en-CA" sz="16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4EAA5C09-A057-4457-9179-D3508932F0CE}"/>
                </a:ext>
              </a:extLst>
            </p:cNvPr>
            <p:cNvSpPr txBox="1"/>
            <p:nvPr/>
          </p:nvSpPr>
          <p:spPr>
            <a:xfrm>
              <a:off x="895564" y="2292286"/>
              <a:ext cx="1266532" cy="461665"/>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Initial shock and disbelief </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0251BA8F-F02F-4684-BFA2-339B97FB4731}"/>
                </a:ext>
              </a:extLst>
            </p:cNvPr>
            <p:cNvSpPr txBox="1"/>
            <p:nvPr/>
          </p:nvSpPr>
          <p:spPr>
            <a:xfrm>
              <a:off x="1685473" y="4050415"/>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Feelings of fear and anger leading to protest</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02BB73C8-579B-49D9-A107-E536848D3FA4}"/>
                </a:ext>
              </a:extLst>
            </p:cNvPr>
            <p:cNvSpPr txBox="1"/>
            <p:nvPr/>
          </p:nvSpPr>
          <p:spPr>
            <a:xfrm>
              <a:off x="5172927" y="3608835"/>
              <a:ext cx="1938467"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Employee understanding, excitement and questioning</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05F3E546-3287-40AB-B802-EE0D6AC6F169}"/>
                </a:ext>
              </a:extLst>
            </p:cNvPr>
            <p:cNvSpPr txBox="1"/>
            <p:nvPr/>
          </p:nvSpPr>
          <p:spPr>
            <a:xfrm>
              <a:off x="4585031" y="1990972"/>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Learning how to work with the change</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062617AB-6DC3-4C46-ADF3-924C89CA34F5}"/>
                </a:ext>
              </a:extLst>
            </p:cNvPr>
            <p:cNvSpPr txBox="1"/>
            <p:nvPr/>
          </p:nvSpPr>
          <p:spPr>
            <a:xfrm>
              <a:off x="5786302" y="4914999"/>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Time</a:t>
              </a:r>
              <a:endParaRPr lang="en-CA" i="1"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C711295-EFBB-4370-8A65-49D40DBA87E6}"/>
                </a:ext>
              </a:extLst>
            </p:cNvPr>
            <p:cNvSpPr txBox="1"/>
            <p:nvPr/>
          </p:nvSpPr>
          <p:spPr>
            <a:xfrm rot="16200000">
              <a:off x="-208758" y="2252323"/>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Performance</a:t>
              </a:r>
              <a:endParaRPr lang="en-CA" i="1" dirty="0">
                <a:latin typeface="Arial" panose="020B0604020202020204" pitchFamily="34" charset="0"/>
                <a:cs typeface="Arial" panose="020B0604020202020204" pitchFamily="34" charset="0"/>
              </a:endParaRPr>
            </a:p>
          </p:txBody>
        </p:sp>
        <p:pic>
          <p:nvPicPr>
            <p:cNvPr id="32" name="Graphic 31" descr="Surprised face with no fill">
              <a:extLst>
                <a:ext uri="{FF2B5EF4-FFF2-40B4-BE49-F238E27FC236}">
                  <a16:creationId xmlns:a16="http://schemas.microsoft.com/office/drawing/2014/main" id="{B3635091-EA6C-45BF-9324-CF1EBEF4F479}"/>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34" name="Graphic 33" descr="Neutral face with no fill">
              <a:extLst>
                <a:ext uri="{FF2B5EF4-FFF2-40B4-BE49-F238E27FC236}">
                  <a16:creationId xmlns:a16="http://schemas.microsoft.com/office/drawing/2014/main" id="{C38CF90C-34E3-4FCF-8DBF-4E8830BFE9BE}"/>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36" name="Graphic 35" descr="Worried face with no fill">
              <a:extLst>
                <a:ext uri="{FF2B5EF4-FFF2-40B4-BE49-F238E27FC236}">
                  <a16:creationId xmlns:a16="http://schemas.microsoft.com/office/drawing/2014/main" id="{E0429EC4-3C9B-44B9-83F6-0CEB3D37FBC9}"/>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38" name="Graphic 37" descr="Grinning face with no fill">
              <a:extLst>
                <a:ext uri="{FF2B5EF4-FFF2-40B4-BE49-F238E27FC236}">
                  <a16:creationId xmlns:a16="http://schemas.microsoft.com/office/drawing/2014/main" id="{112AF510-A1D0-4440-9C80-1F280D90FA2A}"/>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
        <p:nvSpPr>
          <p:cNvPr id="42" name="Flowchart: Off-page Connector 41">
            <a:extLst>
              <a:ext uri="{FF2B5EF4-FFF2-40B4-BE49-F238E27FC236}">
                <a16:creationId xmlns:a16="http://schemas.microsoft.com/office/drawing/2014/main" id="{BCEE7515-3524-472F-8F58-BF6E58A6FF68}"/>
              </a:ext>
            </a:extLst>
          </p:cNvPr>
          <p:cNvSpPr/>
          <p:nvPr/>
        </p:nvSpPr>
        <p:spPr>
          <a:xfrm>
            <a:off x="7431321" y="1475286"/>
            <a:ext cx="4158824" cy="353665"/>
          </a:xfrm>
          <a:prstGeom prst="flowChartOffpage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In denial</a:t>
            </a:r>
            <a:endParaRPr lang="en-CA" sz="1600" dirty="0">
              <a:solidFill>
                <a:schemeClr val="tx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1C564CC-726D-4AF9-9415-EA9A7827EF0B}"/>
              </a:ext>
            </a:extLst>
          </p:cNvPr>
          <p:cNvSpPr txBox="1"/>
          <p:nvPr/>
        </p:nvSpPr>
        <p:spPr>
          <a:xfrm>
            <a:off x="7431321" y="1844447"/>
            <a:ext cx="41588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Not understanding </a:t>
            </a:r>
            <a:r>
              <a:rPr lang="en-US" sz="1400" b="1" dirty="0"/>
              <a:t>why</a:t>
            </a:r>
            <a:r>
              <a:rPr lang="en-US" sz="1400" dirty="0"/>
              <a:t> the organization needs to make these changes.</a:t>
            </a:r>
          </a:p>
        </p:txBody>
      </p:sp>
      <p:sp>
        <p:nvSpPr>
          <p:cNvPr id="43" name="Flowchart: Off-page Connector 42">
            <a:extLst>
              <a:ext uri="{FF2B5EF4-FFF2-40B4-BE49-F238E27FC236}">
                <a16:creationId xmlns:a16="http://schemas.microsoft.com/office/drawing/2014/main" id="{A95862EF-6835-47F7-810D-D13EB59C9F3C}"/>
              </a:ext>
            </a:extLst>
          </p:cNvPr>
          <p:cNvSpPr/>
          <p:nvPr/>
        </p:nvSpPr>
        <p:spPr>
          <a:xfrm>
            <a:off x="7431321" y="2408167"/>
            <a:ext cx="4158824"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Resisting</a:t>
            </a:r>
            <a:endParaRPr lang="en-CA" sz="1600" dirty="0">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7610ADAC-96D2-4161-8E5B-D809086A6EA4}"/>
              </a:ext>
            </a:extLst>
          </p:cNvPr>
          <p:cNvSpPr txBox="1"/>
          <p:nvPr/>
        </p:nvSpPr>
        <p:spPr>
          <a:xfrm>
            <a:off x="7453996" y="2852199"/>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Looking  for evidence that this workplace model isn’t efficient.</a:t>
            </a:r>
          </a:p>
          <a:p>
            <a:pPr marL="285750" indent="-285750">
              <a:buFont typeface="Arial" panose="020B0604020202020204" pitchFamily="34" charset="0"/>
              <a:buChar char="•"/>
            </a:pPr>
            <a:r>
              <a:rPr lang="en-US" sz="1400" dirty="0"/>
              <a:t>Complaining that the changes will not work for their functions.</a:t>
            </a:r>
          </a:p>
        </p:txBody>
      </p:sp>
      <p:sp>
        <p:nvSpPr>
          <p:cNvPr id="44" name="Flowchart: Off-page Connector 43">
            <a:extLst>
              <a:ext uri="{FF2B5EF4-FFF2-40B4-BE49-F238E27FC236}">
                <a16:creationId xmlns:a16="http://schemas.microsoft.com/office/drawing/2014/main" id="{279DBB7C-9EAA-452F-95CC-784DB91B3516}"/>
              </a:ext>
            </a:extLst>
          </p:cNvPr>
          <p:cNvSpPr/>
          <p:nvPr/>
        </p:nvSpPr>
        <p:spPr>
          <a:xfrm>
            <a:off x="7453996" y="3852095"/>
            <a:ext cx="4158824"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Exploring</a:t>
            </a:r>
            <a:endParaRPr lang="en-CA" sz="1600" dirty="0">
              <a:solidFill>
                <a:schemeClr val="tx1"/>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36C29F3A-8516-44CE-8C66-B51F2F37DA86}"/>
              </a:ext>
            </a:extLst>
          </p:cNvPr>
          <p:cNvSpPr txBox="1"/>
          <p:nvPr/>
        </p:nvSpPr>
        <p:spPr>
          <a:xfrm>
            <a:off x="7431321" y="4266054"/>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Paying more attention to the information and trainings available.</a:t>
            </a:r>
          </a:p>
          <a:p>
            <a:pPr marL="285750" indent="-285750">
              <a:buFont typeface="Arial" panose="020B0604020202020204" pitchFamily="34" charset="0"/>
              <a:buChar char="•"/>
            </a:pPr>
            <a:r>
              <a:rPr lang="en-US" sz="1400" dirty="0"/>
              <a:t>Starting to look for solutions to issues anticipated or experimented.</a:t>
            </a:r>
          </a:p>
        </p:txBody>
      </p:sp>
      <p:sp>
        <p:nvSpPr>
          <p:cNvPr id="45" name="Flowchart: Off-page Connector 44">
            <a:extLst>
              <a:ext uri="{FF2B5EF4-FFF2-40B4-BE49-F238E27FC236}">
                <a16:creationId xmlns:a16="http://schemas.microsoft.com/office/drawing/2014/main" id="{B399EB39-A3D7-4EC0-9D48-E3D784BD2DD7}"/>
              </a:ext>
            </a:extLst>
          </p:cNvPr>
          <p:cNvSpPr/>
          <p:nvPr/>
        </p:nvSpPr>
        <p:spPr>
          <a:xfrm>
            <a:off x="7431321" y="5272617"/>
            <a:ext cx="4158824"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Committed</a:t>
            </a:r>
            <a:endParaRPr lang="en-CA" sz="1600" dirty="0">
              <a:solidFill>
                <a:schemeClr val="bg1"/>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78CC5D01-D6DD-4F92-AA98-55AB1B20A00F}"/>
              </a:ext>
            </a:extLst>
          </p:cNvPr>
          <p:cNvSpPr txBox="1"/>
          <p:nvPr/>
        </p:nvSpPr>
        <p:spPr>
          <a:xfrm>
            <a:off x="7431321" y="5609773"/>
            <a:ext cx="41588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Adopting new ways of working and respecting etiquette.</a:t>
            </a:r>
          </a:p>
        </p:txBody>
      </p:sp>
    </p:spTree>
    <p:extLst>
      <p:ext uri="{BB962C8B-B14F-4D97-AF65-F5344CB8AC3E}">
        <p14:creationId xmlns:p14="http://schemas.microsoft.com/office/powerpoint/2010/main" val="986189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9087704-33C2-751A-AAA2-42D79C68F89B}"/>
              </a:ext>
            </a:extLst>
          </p:cNvPr>
          <p:cNvSpPr>
            <a:spLocks noGrp="1"/>
          </p:cNvSpPr>
          <p:nvPr>
            <p:ph type="title"/>
          </p:nvPr>
        </p:nvSpPr>
        <p:spPr/>
        <p:txBody>
          <a:bodyPr/>
          <a:lstStyle/>
          <a:p>
            <a:r>
              <a:rPr lang="en-CA" dirty="0"/>
              <a:t>The need for strong leadership – Persona Studies</a:t>
            </a:r>
          </a:p>
        </p:txBody>
      </p:sp>
      <p:sp>
        <p:nvSpPr>
          <p:cNvPr id="15" name="TextBox 14">
            <a:extLst>
              <a:ext uri="{FF2B5EF4-FFF2-40B4-BE49-F238E27FC236}">
                <a16:creationId xmlns:a16="http://schemas.microsoft.com/office/drawing/2014/main" id="{2A224E51-C8E2-AF04-0A70-65F6548C9FA5}"/>
              </a:ext>
            </a:extLst>
          </p:cNvPr>
          <p:cNvSpPr txBox="1"/>
          <p:nvPr/>
        </p:nvSpPr>
        <p:spPr>
          <a:xfrm>
            <a:off x="584792" y="1414802"/>
            <a:ext cx="10813310" cy="3693319"/>
          </a:xfrm>
          <a:prstGeom prst="rect">
            <a:avLst/>
          </a:prstGeom>
          <a:noFill/>
        </p:spPr>
        <p:txBody>
          <a:bodyPr wrap="square" lIns="91440" tIns="45720" rIns="91440" bIns="45720" rtlCol="0" anchor="t">
            <a:spAutoFit/>
          </a:bodyPr>
          <a:lstStyle/>
          <a:p>
            <a:r>
              <a:rPr lang="en-CA" dirty="0"/>
              <a:t>Consider the importance of effective change leadership in terms of individual employees. These personas are hypothetical individuals, experiencing a change to an unassigned work environment.</a:t>
            </a:r>
          </a:p>
          <a:p>
            <a:endParaRPr lang="en-CA" dirty="0"/>
          </a:p>
          <a:p>
            <a:r>
              <a:rPr lang="en-CA" b="1" dirty="0"/>
              <a:t>Denial and resistance</a:t>
            </a:r>
          </a:p>
          <a:p>
            <a:r>
              <a:rPr lang="en-CA" dirty="0"/>
              <a:t>On the </a:t>
            </a:r>
            <a:r>
              <a:rPr lang="en-CA" b="1" dirty="0"/>
              <a:t>left</a:t>
            </a:r>
            <a:r>
              <a:rPr lang="en-CA" dirty="0"/>
              <a:t> side of the following slides, you will see a persona living under the change and that is in denial or is resisting to the change. Leaders have not communicated a vision for the workplace and are not engaging with employees on the subject. </a:t>
            </a:r>
          </a:p>
          <a:p>
            <a:endParaRPr lang="en-CA" dirty="0"/>
          </a:p>
          <a:p>
            <a:r>
              <a:rPr lang="en-CA" b="1" dirty="0"/>
              <a:t>Exploration and commitment</a:t>
            </a:r>
          </a:p>
          <a:p>
            <a:r>
              <a:rPr lang="en-CA" dirty="0"/>
              <a:t>On the </a:t>
            </a:r>
            <a:r>
              <a:rPr lang="en-CA" b="1" dirty="0"/>
              <a:t>right</a:t>
            </a:r>
            <a:r>
              <a:rPr lang="en-CA" dirty="0"/>
              <a:t> side you will see a persona living the change with strong change leadership. Leaders have communicated a clear vision for their workplace and support their employees through the change. Consider the </a:t>
            </a:r>
            <a:r>
              <a:rPr lang="en-CA" b="1" dirty="0"/>
              <a:t>risks</a:t>
            </a:r>
            <a:r>
              <a:rPr lang="en-CA" dirty="0"/>
              <a:t> associated with lack of change leadership: poor morale, operational issues, security risks, and compounding inefficiencies. </a:t>
            </a:r>
            <a:endParaRPr lang="en-CA" dirty="0">
              <a:ea typeface="Calibri Light"/>
              <a:cs typeface="Calibri Light"/>
            </a:endParaRPr>
          </a:p>
        </p:txBody>
      </p:sp>
      <p:sp>
        <p:nvSpPr>
          <p:cNvPr id="16" name="TextBox 15">
            <a:extLst>
              <a:ext uri="{FF2B5EF4-FFF2-40B4-BE49-F238E27FC236}">
                <a16:creationId xmlns:a16="http://schemas.microsoft.com/office/drawing/2014/main" id="{DDBAA832-5D5B-F155-4F32-06C89A6062D9}"/>
              </a:ext>
            </a:extLst>
          </p:cNvPr>
          <p:cNvSpPr txBox="1"/>
          <p:nvPr/>
        </p:nvSpPr>
        <p:spPr>
          <a:xfrm>
            <a:off x="3658871" y="6110272"/>
            <a:ext cx="904774" cy="369332"/>
          </a:xfrm>
          <a:prstGeom prst="rect">
            <a:avLst/>
          </a:prstGeom>
          <a:noFill/>
        </p:spPr>
        <p:txBody>
          <a:bodyPr wrap="square" rtlCol="0">
            <a:spAutoFit/>
          </a:bodyPr>
          <a:lstStyle/>
          <a:p>
            <a:r>
              <a:rPr lang="en-CA" dirty="0"/>
              <a:t>José</a:t>
            </a:r>
          </a:p>
        </p:txBody>
      </p:sp>
      <p:sp>
        <p:nvSpPr>
          <p:cNvPr id="17" name="TextBox 16">
            <a:extLst>
              <a:ext uri="{FF2B5EF4-FFF2-40B4-BE49-F238E27FC236}">
                <a16:creationId xmlns:a16="http://schemas.microsoft.com/office/drawing/2014/main" id="{03D46260-31B6-3CBA-D6E4-2A34CD363B83}"/>
              </a:ext>
            </a:extLst>
          </p:cNvPr>
          <p:cNvSpPr txBox="1"/>
          <p:nvPr/>
        </p:nvSpPr>
        <p:spPr>
          <a:xfrm>
            <a:off x="4948877" y="6145673"/>
            <a:ext cx="1414914" cy="369332"/>
          </a:xfrm>
          <a:prstGeom prst="rect">
            <a:avLst/>
          </a:prstGeom>
          <a:noFill/>
        </p:spPr>
        <p:txBody>
          <a:bodyPr wrap="square" rtlCol="0">
            <a:spAutoFit/>
          </a:bodyPr>
          <a:lstStyle/>
          <a:p>
            <a:r>
              <a:rPr lang="en-CA" dirty="0"/>
              <a:t>John</a:t>
            </a:r>
          </a:p>
        </p:txBody>
      </p:sp>
      <p:sp>
        <p:nvSpPr>
          <p:cNvPr id="19" name="TextBox 18">
            <a:extLst>
              <a:ext uri="{FF2B5EF4-FFF2-40B4-BE49-F238E27FC236}">
                <a16:creationId xmlns:a16="http://schemas.microsoft.com/office/drawing/2014/main" id="{5DABBC32-D0F2-5FB4-F32B-6ACB5C70FCBB}"/>
              </a:ext>
            </a:extLst>
          </p:cNvPr>
          <p:cNvSpPr txBox="1"/>
          <p:nvPr/>
        </p:nvSpPr>
        <p:spPr>
          <a:xfrm>
            <a:off x="6262124" y="6153915"/>
            <a:ext cx="1414914" cy="369332"/>
          </a:xfrm>
          <a:prstGeom prst="rect">
            <a:avLst/>
          </a:prstGeom>
          <a:noFill/>
        </p:spPr>
        <p:txBody>
          <a:bodyPr wrap="square" rtlCol="0">
            <a:spAutoFit/>
          </a:bodyPr>
          <a:lstStyle/>
          <a:p>
            <a:r>
              <a:rPr lang="en-CA" dirty="0"/>
              <a:t>Nina</a:t>
            </a:r>
          </a:p>
        </p:txBody>
      </p:sp>
      <p:sp>
        <p:nvSpPr>
          <p:cNvPr id="18" name="TextBox 17">
            <a:extLst>
              <a:ext uri="{FF2B5EF4-FFF2-40B4-BE49-F238E27FC236}">
                <a16:creationId xmlns:a16="http://schemas.microsoft.com/office/drawing/2014/main" id="{4EF912C3-D6D2-8ADB-9455-F0BB3EFD9484}"/>
              </a:ext>
            </a:extLst>
          </p:cNvPr>
          <p:cNvSpPr txBox="1"/>
          <p:nvPr/>
        </p:nvSpPr>
        <p:spPr>
          <a:xfrm>
            <a:off x="7499936" y="6144943"/>
            <a:ext cx="1414914" cy="369332"/>
          </a:xfrm>
          <a:prstGeom prst="rect">
            <a:avLst/>
          </a:prstGeom>
          <a:noFill/>
        </p:spPr>
        <p:txBody>
          <a:bodyPr wrap="square" rtlCol="0">
            <a:spAutoFit/>
          </a:bodyPr>
          <a:lstStyle/>
          <a:p>
            <a:r>
              <a:rPr lang="en-CA" dirty="0"/>
              <a:t>Pascale</a:t>
            </a:r>
          </a:p>
        </p:txBody>
      </p:sp>
      <p:grpSp>
        <p:nvGrpSpPr>
          <p:cNvPr id="28" name="Group 27">
            <a:extLst>
              <a:ext uri="{FF2B5EF4-FFF2-40B4-BE49-F238E27FC236}">
                <a16:creationId xmlns:a16="http://schemas.microsoft.com/office/drawing/2014/main" id="{6EA4F371-D5EA-8625-54CA-54B81D734C2A}"/>
              </a:ext>
              <a:ext uri="{C183D7F6-B498-43B3-948B-1728B52AA6E4}">
                <adec:decorative xmlns:adec="http://schemas.microsoft.com/office/drawing/2017/decorative" val="1"/>
              </a:ext>
            </a:extLst>
          </p:cNvPr>
          <p:cNvGrpSpPr/>
          <p:nvPr/>
        </p:nvGrpSpPr>
        <p:grpSpPr>
          <a:xfrm>
            <a:off x="3492353" y="5249143"/>
            <a:ext cx="904773" cy="904773"/>
            <a:chOff x="2329283" y="5108121"/>
            <a:chExt cx="904773" cy="904773"/>
          </a:xfrm>
        </p:grpSpPr>
        <p:sp>
          <p:nvSpPr>
            <p:cNvPr id="2" name="Oval 1">
              <a:extLst>
                <a:ext uri="{FF2B5EF4-FFF2-40B4-BE49-F238E27FC236}">
                  <a16:creationId xmlns:a16="http://schemas.microsoft.com/office/drawing/2014/main" id="{C335DD1F-EE65-46A4-6836-FB0648BFC42C}"/>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Graphic 2" descr="User with solid fill">
              <a:extLst>
                <a:ext uri="{FF2B5EF4-FFF2-40B4-BE49-F238E27FC236}">
                  <a16:creationId xmlns:a16="http://schemas.microsoft.com/office/drawing/2014/main" id="{FE3F6084-7EE0-402E-8F92-19DCEE3C85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8550" y="5171860"/>
              <a:ext cx="706240" cy="706240"/>
            </a:xfrm>
            <a:prstGeom prst="rect">
              <a:avLst/>
            </a:prstGeom>
          </p:spPr>
        </p:pic>
      </p:grpSp>
      <p:grpSp>
        <p:nvGrpSpPr>
          <p:cNvPr id="26" name="Group 25">
            <a:extLst>
              <a:ext uri="{FF2B5EF4-FFF2-40B4-BE49-F238E27FC236}">
                <a16:creationId xmlns:a16="http://schemas.microsoft.com/office/drawing/2014/main" id="{6E2E158F-7E6D-0196-2835-4CADE1CFB295}"/>
              </a:ext>
              <a:ext uri="{C183D7F6-B498-43B3-948B-1728B52AA6E4}">
                <adec:decorative xmlns:adec="http://schemas.microsoft.com/office/drawing/2017/decorative" val="1"/>
              </a:ext>
            </a:extLst>
          </p:cNvPr>
          <p:cNvGrpSpPr/>
          <p:nvPr/>
        </p:nvGrpSpPr>
        <p:grpSpPr>
          <a:xfrm>
            <a:off x="4828214" y="5249143"/>
            <a:ext cx="904773" cy="904773"/>
            <a:chOff x="1294317" y="5153902"/>
            <a:chExt cx="904773" cy="904773"/>
          </a:xfrm>
        </p:grpSpPr>
        <p:sp>
          <p:nvSpPr>
            <p:cNvPr id="14" name="Oval 13">
              <a:extLst>
                <a:ext uri="{FF2B5EF4-FFF2-40B4-BE49-F238E27FC236}">
                  <a16:creationId xmlns:a16="http://schemas.microsoft.com/office/drawing/2014/main" id="{7A5E974F-6B05-08FC-4173-83BBA5A8AE21}"/>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0" name="Graphic 19" descr="User with solid fill">
              <a:extLst>
                <a:ext uri="{FF2B5EF4-FFF2-40B4-BE49-F238E27FC236}">
                  <a16:creationId xmlns:a16="http://schemas.microsoft.com/office/drawing/2014/main" id="{7CEE1165-EA61-F993-5011-8E02509911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3584" y="5217641"/>
              <a:ext cx="706240" cy="706240"/>
            </a:xfrm>
            <a:prstGeom prst="rect">
              <a:avLst/>
            </a:prstGeom>
          </p:spPr>
        </p:pic>
      </p:grpSp>
      <p:grpSp>
        <p:nvGrpSpPr>
          <p:cNvPr id="27" name="Group 26">
            <a:extLst>
              <a:ext uri="{FF2B5EF4-FFF2-40B4-BE49-F238E27FC236}">
                <a16:creationId xmlns:a16="http://schemas.microsoft.com/office/drawing/2014/main" id="{AB01FB73-CE98-45CB-5F16-A502147DF5B3}"/>
              </a:ext>
              <a:ext uri="{C183D7F6-B498-43B3-948B-1728B52AA6E4}">
                <adec:decorative xmlns:adec="http://schemas.microsoft.com/office/drawing/2017/decorative" val="1"/>
              </a:ext>
            </a:extLst>
          </p:cNvPr>
          <p:cNvGrpSpPr/>
          <p:nvPr/>
        </p:nvGrpSpPr>
        <p:grpSpPr>
          <a:xfrm>
            <a:off x="7499936" y="5249143"/>
            <a:ext cx="904773" cy="904773"/>
            <a:chOff x="1898923" y="6065107"/>
            <a:chExt cx="904773" cy="904773"/>
          </a:xfrm>
        </p:grpSpPr>
        <p:sp>
          <p:nvSpPr>
            <p:cNvPr id="22" name="Oval 21">
              <a:extLst>
                <a:ext uri="{FF2B5EF4-FFF2-40B4-BE49-F238E27FC236}">
                  <a16:creationId xmlns:a16="http://schemas.microsoft.com/office/drawing/2014/main" id="{E4840696-954C-1A4E-6847-D74CEAE33491}"/>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3" name="Graphic 22" descr="User with solid fill">
              <a:extLst>
                <a:ext uri="{FF2B5EF4-FFF2-40B4-BE49-F238E27FC236}">
                  <a16:creationId xmlns:a16="http://schemas.microsoft.com/office/drawing/2014/main" id="{A760D1BA-8C8A-C044-C2E1-8FC913B98C0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8189" y="6164373"/>
              <a:ext cx="706240" cy="706240"/>
            </a:xfrm>
            <a:prstGeom prst="rect">
              <a:avLst/>
            </a:prstGeom>
          </p:spPr>
        </p:pic>
      </p:grpSp>
      <p:grpSp>
        <p:nvGrpSpPr>
          <p:cNvPr id="25" name="Group 24">
            <a:extLst>
              <a:ext uri="{FF2B5EF4-FFF2-40B4-BE49-F238E27FC236}">
                <a16:creationId xmlns:a16="http://schemas.microsoft.com/office/drawing/2014/main" id="{E29E7E0E-D92F-F33C-D1BA-963EE4F3E01A}"/>
              </a:ext>
              <a:ext uri="{C183D7F6-B498-43B3-948B-1728B52AA6E4}">
                <adec:decorative xmlns:adec="http://schemas.microsoft.com/office/drawing/2017/decorative" val="1"/>
              </a:ext>
            </a:extLst>
          </p:cNvPr>
          <p:cNvGrpSpPr/>
          <p:nvPr/>
        </p:nvGrpSpPr>
        <p:grpSpPr>
          <a:xfrm>
            <a:off x="6164075" y="5249143"/>
            <a:ext cx="904773" cy="904773"/>
            <a:chOff x="290278" y="5160334"/>
            <a:chExt cx="904773" cy="904773"/>
          </a:xfrm>
        </p:grpSpPr>
        <p:sp>
          <p:nvSpPr>
            <p:cNvPr id="21" name="Oval 20">
              <a:extLst>
                <a:ext uri="{FF2B5EF4-FFF2-40B4-BE49-F238E27FC236}">
                  <a16:creationId xmlns:a16="http://schemas.microsoft.com/office/drawing/2014/main" id="{4299E390-035D-ADB8-80FF-70B7B3DA9EAC}"/>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Graphic 23" descr="User with solid fill">
              <a:extLst>
                <a:ext uri="{FF2B5EF4-FFF2-40B4-BE49-F238E27FC236}">
                  <a16:creationId xmlns:a16="http://schemas.microsoft.com/office/drawing/2014/main" id="{7D6BAF27-D0DA-CD60-8917-D79EF716E4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388099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254A6-86DE-4A21-B094-C9AE8BEEF21A}"/>
              </a:ext>
            </a:extLst>
          </p:cNvPr>
          <p:cNvSpPr txBox="1">
            <a:spLocks noGrp="1"/>
          </p:cNvSpPr>
          <p:nvPr>
            <p:ph type="title" idx="4294967295"/>
          </p:nvPr>
        </p:nvSpPr>
        <p:spPr>
          <a:xfrm>
            <a:off x="4213636" y="201092"/>
            <a:ext cx="373781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tx1"/>
                </a:solidFill>
                <a:effectLst/>
                <a:uLnTx/>
                <a:uFillTx/>
                <a:latin typeface="Calibri"/>
                <a:ea typeface="Calibri"/>
                <a:cs typeface="Calibri"/>
              </a:rPr>
              <a:t>José’s security concerns</a:t>
            </a:r>
          </a:p>
        </p:txBody>
      </p:sp>
      <p:sp>
        <p:nvSpPr>
          <p:cNvPr id="8" name="Google Shape;180;p17">
            <a:extLst>
              <a:ext uri="{FF2B5EF4-FFF2-40B4-BE49-F238E27FC236}">
                <a16:creationId xmlns:a16="http://schemas.microsoft.com/office/drawing/2014/main" id="{96EFBFBE-8CD7-D471-D8B0-8D13BB75ECC5}"/>
              </a:ext>
            </a:extLst>
          </p:cNvPr>
          <p:cNvSpPr txBox="1"/>
          <p:nvPr/>
        </p:nvSpPr>
        <p:spPr>
          <a:xfrm>
            <a:off x="1588652" y="2343313"/>
            <a:ext cx="3584655" cy="2790831"/>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 told about an upcoming move to unassigned seating, but felt it could never work for his team because of security concerns. </a:t>
            </a:r>
          </a:p>
          <a:p>
            <a:endParaRPr lang="en" sz="1600" dirty="0">
              <a:latin typeface="Calibri" panose="020F0502020204030204" pitchFamily="34" charset="0"/>
              <a:ea typeface="Calibri" panose="020F0502020204030204" pitchFamily="34" charset="0"/>
              <a:cs typeface="Calibri" panose="020F0502020204030204" pitchFamily="34" charset="0"/>
              <a:sym typeface="Roboto"/>
            </a:endParaRPr>
          </a:p>
          <a:p>
            <a:r>
              <a:rPr lang="en" sz="1600" dirty="0">
                <a:latin typeface="Calibri" panose="020F0502020204030204" pitchFamily="34" charset="0"/>
                <a:ea typeface="Calibri" panose="020F0502020204030204" pitchFamily="34" charset="0"/>
                <a:cs typeface="Calibri" panose="020F0502020204030204" pitchFamily="34" charset="0"/>
                <a:sym typeface="Roboto"/>
              </a:rPr>
              <a:t>Rather than engaging with the process and finding a solution to these concerns, he assumed his team would be allowed to keep their cubicules. Now they’re being told t</a:t>
            </a:r>
            <a:r>
              <a:rPr lang="en-CA" sz="1600" dirty="0">
                <a:latin typeface="Calibri" panose="020F0502020204030204" pitchFamily="34" charset="0"/>
                <a:ea typeface="Calibri" panose="020F0502020204030204" pitchFamily="34" charset="0"/>
                <a:cs typeface="Calibri" panose="020F0502020204030204" pitchFamily="34" charset="0"/>
                <a:sym typeface="Roboto"/>
              </a:rPr>
              <a:t>he</a:t>
            </a:r>
            <a:r>
              <a:rPr lang="en" sz="1600" dirty="0">
                <a:latin typeface="Calibri" panose="020F0502020204030204" pitchFamily="34" charset="0"/>
                <a:ea typeface="Calibri" panose="020F0502020204030204" pitchFamily="34" charset="0"/>
                <a:cs typeface="Calibri" panose="020F0502020204030204" pitchFamily="34" charset="0"/>
                <a:sym typeface="Roboto"/>
              </a:rPr>
              <a:t> move is imminent.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1" name="Google Shape;180;p17">
            <a:extLst>
              <a:ext uri="{FF2B5EF4-FFF2-40B4-BE49-F238E27FC236}">
                <a16:creationId xmlns:a16="http://schemas.microsoft.com/office/drawing/2014/main" id="{3F9CB8D4-6144-CAF9-0CC6-38351C152F7F}"/>
              </a:ext>
            </a:extLst>
          </p:cNvPr>
          <p:cNvSpPr txBox="1"/>
          <p:nvPr/>
        </p:nvSpPr>
        <p:spPr>
          <a:xfrm>
            <a:off x="7130117" y="2349483"/>
            <a:ext cx="3408845" cy="2627429"/>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n’t sure about the new workspace, but his management made it clear that this was the way forward and invited him to actively engage with the process. </a:t>
            </a:r>
          </a:p>
          <a:p>
            <a:endParaRPr lang="en" sz="1600" dirty="0">
              <a:latin typeface="Calibri" panose="020F0502020204030204" pitchFamily="34" charset="0"/>
              <a:ea typeface="Calibri" panose="020F0502020204030204" pitchFamily="34" charset="0"/>
              <a:cs typeface="Calibri" panose="020F0502020204030204" pitchFamily="34" charset="0"/>
              <a:sym typeface="Roboto"/>
            </a:endParaRPr>
          </a:p>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 given space to clearly articulate his team’s security needs and the appropriate accomodations where made.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0" name="Arrow: Chevron 9">
            <a:extLst>
              <a:ext uri="{FF2B5EF4-FFF2-40B4-BE49-F238E27FC236}">
                <a16:creationId xmlns:a16="http://schemas.microsoft.com/office/drawing/2014/main" id="{2EA7841F-B628-5763-87F4-5C2C97873218}"/>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3" name="Arrow: Chevron 12">
            <a:extLst>
              <a:ext uri="{FF2B5EF4-FFF2-40B4-BE49-F238E27FC236}">
                <a16:creationId xmlns:a16="http://schemas.microsoft.com/office/drawing/2014/main" id="{F4B3BF70-A09E-2CC1-D775-70C144DE22D1}"/>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3" name="Group 2">
            <a:extLst>
              <a:ext uri="{FF2B5EF4-FFF2-40B4-BE49-F238E27FC236}">
                <a16:creationId xmlns:a16="http://schemas.microsoft.com/office/drawing/2014/main" id="{AE983709-3980-9C85-CD65-639C81613A88}"/>
              </a:ext>
              <a:ext uri="{C183D7F6-B498-43B3-948B-1728B52AA6E4}">
                <adec:decorative xmlns:adec="http://schemas.microsoft.com/office/drawing/2017/decorative" val="1"/>
              </a:ext>
            </a:extLst>
          </p:cNvPr>
          <p:cNvGrpSpPr/>
          <p:nvPr/>
        </p:nvGrpSpPr>
        <p:grpSpPr>
          <a:xfrm>
            <a:off x="5476140" y="1399837"/>
            <a:ext cx="904773" cy="904773"/>
            <a:chOff x="2329283" y="5108121"/>
            <a:chExt cx="904773" cy="904773"/>
          </a:xfrm>
        </p:grpSpPr>
        <p:sp>
          <p:nvSpPr>
            <p:cNvPr id="4" name="Oval 3">
              <a:extLst>
                <a:ext uri="{FF2B5EF4-FFF2-40B4-BE49-F238E27FC236}">
                  <a16:creationId xmlns:a16="http://schemas.microsoft.com/office/drawing/2014/main" id="{45E3BBE5-EC6C-60B6-101C-EFFCA8D678C3}"/>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Graphic 4" descr="User with solid fill">
              <a:extLst>
                <a:ext uri="{FF2B5EF4-FFF2-40B4-BE49-F238E27FC236}">
                  <a16:creationId xmlns:a16="http://schemas.microsoft.com/office/drawing/2014/main" id="{9BA9D19D-E56A-FE30-F5EC-735FE847CB0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8550" y="5171860"/>
              <a:ext cx="706240" cy="706240"/>
            </a:xfrm>
            <a:prstGeom prst="rect">
              <a:avLst/>
            </a:prstGeom>
          </p:spPr>
        </p:pic>
      </p:grpSp>
    </p:spTree>
    <p:extLst>
      <p:ext uri="{BB962C8B-B14F-4D97-AF65-F5344CB8AC3E}">
        <p14:creationId xmlns:p14="http://schemas.microsoft.com/office/powerpoint/2010/main" val="3248544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CEF9E92-F5EA-929E-089A-77CB316CD4E6}"/>
              </a:ext>
            </a:extLst>
          </p:cNvPr>
          <p:cNvSpPr txBox="1">
            <a:spLocks noGrp="1"/>
          </p:cNvSpPr>
          <p:nvPr>
            <p:ph type="title" idx="4294967295"/>
          </p:nvPr>
        </p:nvSpPr>
        <p:spPr>
          <a:xfrm>
            <a:off x="4335406" y="282232"/>
            <a:ext cx="3186238"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dirty="0">
                <a:ln>
                  <a:noFill/>
                </a:ln>
                <a:solidFill>
                  <a:schemeClr val="tx1"/>
                </a:solidFill>
                <a:effectLst/>
                <a:uLnTx/>
                <a:uFillTx/>
                <a:latin typeface="Calibri"/>
                <a:ea typeface="Calibri"/>
                <a:cs typeface="Calibri"/>
              </a:rPr>
              <a:t>John’s Workstation</a:t>
            </a:r>
          </a:p>
        </p:txBody>
      </p:sp>
      <p:sp>
        <p:nvSpPr>
          <p:cNvPr id="4" name="Google Shape;163;p17">
            <a:extLst>
              <a:ext uri="{FF2B5EF4-FFF2-40B4-BE49-F238E27FC236}">
                <a16:creationId xmlns:a16="http://schemas.microsoft.com/office/drawing/2014/main" id="{467DDDC7-7CBB-BC5B-C7E3-CCA15A516CCE}"/>
              </a:ext>
            </a:extLst>
          </p:cNvPr>
          <p:cNvSpPr txBox="1"/>
          <p:nvPr/>
        </p:nvSpPr>
        <p:spPr>
          <a:xfrm>
            <a:off x="1413110" y="2506271"/>
            <a:ext cx="3724947" cy="1604297"/>
          </a:xfrm>
          <a:prstGeom prst="rect">
            <a:avLst/>
          </a:prstGeom>
          <a:noFill/>
          <a:ln>
            <a:noFill/>
          </a:ln>
        </p:spPr>
        <p:txBody>
          <a:bodyPr spcFirstLastPara="1" wrap="square" lIns="121900" tIns="121900" rIns="121900" bIns="121900" anchor="t" anchorCtr="0">
            <a:noAutofit/>
          </a:bodyPr>
          <a:lstStyle/>
          <a:p>
            <a:r>
              <a:rPr lang="en-CA" sz="1600" dirty="0">
                <a:latin typeface="Calibri" panose="020F0502020204030204" pitchFamily="34" charset="0"/>
                <a:ea typeface="Calibri" panose="020F0502020204030204" pitchFamily="34" charset="0"/>
                <a:cs typeface="Calibri" panose="020F0502020204030204" pitchFamily="34" charset="0"/>
                <a:sym typeface="Roboto"/>
              </a:rPr>
              <a:t>John worked entirely remotely during the height of the pandemic. When he first came back to the office, he found a workstation in a sparsely occupied area and set himself up there: snacks and a change of clothes in a desk drawer, and pictures of his family on the walls. Nobody’s complained so he figures that’s fine. </a:t>
            </a:r>
          </a:p>
        </p:txBody>
      </p:sp>
      <p:sp>
        <p:nvSpPr>
          <p:cNvPr id="8" name="TextBox 7">
            <a:extLst>
              <a:ext uri="{FF2B5EF4-FFF2-40B4-BE49-F238E27FC236}">
                <a16:creationId xmlns:a16="http://schemas.microsoft.com/office/drawing/2014/main" id="{D1BB5A4D-1910-BA41-710E-649A068A1729}"/>
              </a:ext>
            </a:extLst>
          </p:cNvPr>
          <p:cNvSpPr txBox="1"/>
          <p:nvPr/>
        </p:nvSpPr>
        <p:spPr>
          <a:xfrm>
            <a:off x="6801152" y="2626851"/>
            <a:ext cx="3628724" cy="2062103"/>
          </a:xfrm>
          <a:prstGeom prst="rect">
            <a:avLst/>
          </a:prstGeom>
          <a:noFill/>
        </p:spPr>
        <p:txBody>
          <a:bodyPr wrap="square" rtlCol="0">
            <a:spAutoFit/>
          </a:bodyPr>
          <a:lstStyle/>
          <a:p>
            <a:r>
              <a:rPr lang="en-CA" sz="1600" dirty="0">
                <a:latin typeface="Calibri" panose="020F0502020204030204" pitchFamily="34" charset="0"/>
                <a:ea typeface="Calibri" panose="020F0502020204030204" pitchFamily="34" charset="0"/>
                <a:cs typeface="Calibri" panose="020F0502020204030204" pitchFamily="34" charset="0"/>
              </a:rPr>
              <a:t>If it was up to John he would’ve kept his cubicle, but he understood the need for unassigned seating and felt supported in this transition by management. </a:t>
            </a:r>
          </a:p>
          <a:p>
            <a:r>
              <a:rPr lang="en-CA" sz="1600" dirty="0">
                <a:latin typeface="Calibri" panose="020F0502020204030204" pitchFamily="34" charset="0"/>
                <a:ea typeface="Calibri" panose="020F0502020204030204" pitchFamily="34" charset="0"/>
                <a:cs typeface="Calibri" panose="020F0502020204030204" pitchFamily="34" charset="0"/>
              </a:rPr>
              <a:t>He makes use of the lockers provided in the space. He’s seeing his colleagues more which makes him feel more involved in the team.</a:t>
            </a:r>
          </a:p>
        </p:txBody>
      </p:sp>
      <p:sp>
        <p:nvSpPr>
          <p:cNvPr id="11" name="Arrow: Chevron 10">
            <a:extLst>
              <a:ext uri="{FF2B5EF4-FFF2-40B4-BE49-F238E27FC236}">
                <a16:creationId xmlns:a16="http://schemas.microsoft.com/office/drawing/2014/main" id="{EEBEEEDC-E1F4-8FA3-B8F2-7A671D83EA29}"/>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685A1C3C-CD95-F23A-428E-43FE69A9432E}"/>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9" name="Group 18">
            <a:extLst>
              <a:ext uri="{FF2B5EF4-FFF2-40B4-BE49-F238E27FC236}">
                <a16:creationId xmlns:a16="http://schemas.microsoft.com/office/drawing/2014/main" id="{3F576723-1325-39B0-1B3A-219E42A7C930}"/>
              </a:ext>
              <a:ext uri="{C183D7F6-B498-43B3-948B-1728B52AA6E4}">
                <adec:decorative xmlns:adec="http://schemas.microsoft.com/office/drawing/2017/decorative" val="1"/>
              </a:ext>
            </a:extLst>
          </p:cNvPr>
          <p:cNvGrpSpPr/>
          <p:nvPr/>
        </p:nvGrpSpPr>
        <p:grpSpPr>
          <a:xfrm>
            <a:off x="5476139" y="1419188"/>
            <a:ext cx="904773" cy="904773"/>
            <a:chOff x="1294317" y="5153902"/>
            <a:chExt cx="904773" cy="904773"/>
          </a:xfrm>
        </p:grpSpPr>
        <p:sp>
          <p:nvSpPr>
            <p:cNvPr id="20" name="Oval 19">
              <a:extLst>
                <a:ext uri="{FF2B5EF4-FFF2-40B4-BE49-F238E27FC236}">
                  <a16:creationId xmlns:a16="http://schemas.microsoft.com/office/drawing/2014/main" id="{80986B04-35AD-0CC6-9808-00E4D90395CA}"/>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1" name="Graphic 20" descr="User with solid fill">
              <a:extLst>
                <a:ext uri="{FF2B5EF4-FFF2-40B4-BE49-F238E27FC236}">
                  <a16:creationId xmlns:a16="http://schemas.microsoft.com/office/drawing/2014/main" id="{078E8881-7BCD-BFFD-AC84-3A8364E2CC7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3584" y="5217641"/>
              <a:ext cx="706240" cy="706240"/>
            </a:xfrm>
            <a:prstGeom prst="rect">
              <a:avLst/>
            </a:prstGeom>
          </p:spPr>
        </p:pic>
      </p:grpSp>
    </p:spTree>
    <p:extLst>
      <p:ext uri="{BB962C8B-B14F-4D97-AF65-F5344CB8AC3E}">
        <p14:creationId xmlns:p14="http://schemas.microsoft.com/office/powerpoint/2010/main" val="2239565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6" name="TextBox 5">
            <a:extLst>
              <a:ext uri="{FF2B5EF4-FFF2-40B4-BE49-F238E27FC236}">
                <a16:creationId xmlns:a16="http://schemas.microsoft.com/office/drawing/2014/main" id="{E721DAC6-2C79-1360-C798-8A813E90139B}"/>
              </a:ext>
            </a:extLst>
          </p:cNvPr>
          <p:cNvSpPr txBox="1"/>
          <p:nvPr/>
        </p:nvSpPr>
        <p:spPr>
          <a:xfrm>
            <a:off x="593651" y="1451247"/>
            <a:ext cx="11021175" cy="2308324"/>
          </a:xfrm>
          <a:prstGeom prst="rect">
            <a:avLst/>
          </a:prstGeom>
          <a:noFill/>
        </p:spPr>
        <p:txBody>
          <a:bodyPr wrap="square">
            <a:spAutoFit/>
          </a:bodyPr>
          <a:lstStyle/>
          <a:p>
            <a:r>
              <a:rPr lang="en-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o present to leadership (EX-1 +) in an organization to help them understand their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role in a transition to new office space policies.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May also be shared as a deck among executives.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WHEN: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As early as possible, following identification of sponsor. </a:t>
            </a:r>
            <a:endPar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HOW: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Presented by the executive sponsor at executive committees, or forums.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 version</a:t>
            </a:r>
            <a:endParaRPr lang="en-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A3D9691-2EF5-8BFD-F0A0-97FB021A1A74}"/>
              </a:ext>
            </a:extLst>
          </p:cNvPr>
          <p:cNvSpPr txBox="1">
            <a:spLocks noGrp="1"/>
          </p:cNvSpPr>
          <p:nvPr>
            <p:ph type="title" idx="4294967295"/>
          </p:nvPr>
        </p:nvSpPr>
        <p:spPr>
          <a:xfrm>
            <a:off x="4846678" y="200982"/>
            <a:ext cx="2110531"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dirty="0">
                <a:ln>
                  <a:noFill/>
                </a:ln>
                <a:solidFill>
                  <a:schemeClr val="tx1"/>
                </a:solidFill>
                <a:effectLst/>
                <a:uLnTx/>
                <a:uFillTx/>
                <a:latin typeface="Calibri"/>
                <a:ea typeface="Calibri"/>
                <a:cs typeface="Calibri"/>
              </a:rPr>
              <a:t>Nina’s Office</a:t>
            </a:r>
          </a:p>
        </p:txBody>
      </p:sp>
      <p:sp>
        <p:nvSpPr>
          <p:cNvPr id="8" name="Google Shape;168;p17">
            <a:extLst>
              <a:ext uri="{FF2B5EF4-FFF2-40B4-BE49-F238E27FC236}">
                <a16:creationId xmlns:a16="http://schemas.microsoft.com/office/drawing/2014/main" id="{A9FC7316-1608-7A0F-764B-4353EE47E850}"/>
              </a:ext>
            </a:extLst>
          </p:cNvPr>
          <p:cNvSpPr txBox="1"/>
          <p:nvPr/>
        </p:nvSpPr>
        <p:spPr>
          <a:xfrm>
            <a:off x="1315614" y="2412238"/>
            <a:ext cx="4074774" cy="3348482"/>
          </a:xfrm>
          <a:prstGeom prst="rect">
            <a:avLst/>
          </a:prstGeom>
          <a:noFill/>
          <a:ln>
            <a:noFill/>
          </a:ln>
        </p:spPr>
        <p:txBody>
          <a:bodyPr spcFirstLastPara="1" wrap="square" lIns="121900" tIns="121900" rIns="121900" bIns="121900" anchor="t" anchorCtr="0">
            <a:noAutofit/>
          </a:bodyPr>
          <a:lstStyle/>
          <a:p>
            <a:r>
              <a:rPr lang="en-CA" sz="1600" dirty="0">
                <a:latin typeface="Calibri" panose="020F0502020204030204" pitchFamily="34" charset="0"/>
                <a:ea typeface="Calibri" panose="020F0502020204030204" pitchFamily="34" charset="0"/>
                <a:cs typeface="Calibri" panose="020F0502020204030204" pitchFamily="34" charset="0"/>
                <a:sym typeface="Roboto"/>
              </a:rPr>
              <a:t>Nina has always felt that having an enclosed office was a mark of all the hard work she has put into her career and was a source of pride. As an executive in her organization, she was entitled to an enclosed office before the pandemic, and she interprets the current common hybrid work model as a return to pre-pandemic standards. She’s decided to pick an enclosed room and make that her permanent office. She sees her fellow executives doing the same, so she figures she is justified.</a:t>
            </a:r>
          </a:p>
        </p:txBody>
      </p:sp>
      <p:sp>
        <p:nvSpPr>
          <p:cNvPr id="9" name="Google Shape;168;p17">
            <a:extLst>
              <a:ext uri="{FF2B5EF4-FFF2-40B4-BE49-F238E27FC236}">
                <a16:creationId xmlns:a16="http://schemas.microsoft.com/office/drawing/2014/main" id="{124B1481-76CC-FA32-D369-30B4187EED5E}"/>
              </a:ext>
            </a:extLst>
          </p:cNvPr>
          <p:cNvSpPr txBox="1"/>
          <p:nvPr/>
        </p:nvSpPr>
        <p:spPr>
          <a:xfrm>
            <a:off x="6801152" y="2412238"/>
            <a:ext cx="4074774" cy="2904302"/>
          </a:xfrm>
          <a:prstGeom prst="rect">
            <a:avLst/>
          </a:prstGeom>
          <a:noFill/>
          <a:ln>
            <a:noFill/>
          </a:ln>
        </p:spPr>
        <p:txBody>
          <a:bodyPr spcFirstLastPara="1" wrap="square" lIns="121900" tIns="121900" rIns="121900" bIns="121900" anchor="t" anchorCtr="0">
            <a:noAutofit/>
          </a:bodyPr>
          <a:lstStyle/>
          <a:p>
            <a:r>
              <a:rPr lang="en-CA" sz="1600" dirty="0">
                <a:latin typeface="Calibri" panose="020F0502020204030204" pitchFamily="34" charset="0"/>
                <a:ea typeface="Calibri" panose="020F0502020204030204" pitchFamily="34" charset="0"/>
                <a:cs typeface="Calibri" panose="020F0502020204030204" pitchFamily="34" charset="0"/>
                <a:sym typeface="Roboto"/>
              </a:rPr>
              <a:t>Nina understands that unassigned is the new standard for office spaces for all of the Government of Canada, regardless of the current hybrid work model. She feels supported and heard by her organization in what for her is a difficult transition. It helps to see that all her executive colleagues are in this together navigating the same change. Because the office space is truly unassigned, she is seeing the benefits this is having for her employees who now have more choice over their work point. </a:t>
            </a:r>
          </a:p>
        </p:txBody>
      </p:sp>
      <p:sp>
        <p:nvSpPr>
          <p:cNvPr id="11" name="Arrow: Chevron 10">
            <a:extLst>
              <a:ext uri="{FF2B5EF4-FFF2-40B4-BE49-F238E27FC236}">
                <a16:creationId xmlns:a16="http://schemas.microsoft.com/office/drawing/2014/main" id="{B2D18239-4E11-C0B2-0631-BF29DDACBA2E}"/>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C8C85D34-1249-5642-ABED-278CF0494204}"/>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6" name="Group 15">
            <a:extLst>
              <a:ext uri="{FF2B5EF4-FFF2-40B4-BE49-F238E27FC236}">
                <a16:creationId xmlns:a16="http://schemas.microsoft.com/office/drawing/2014/main" id="{FF1EFBF3-D81A-B850-4673-EAECE5408B0F}"/>
              </a:ext>
              <a:ext uri="{C183D7F6-B498-43B3-948B-1728B52AA6E4}">
                <adec:decorative xmlns:adec="http://schemas.microsoft.com/office/drawing/2017/decorative" val="1"/>
              </a:ext>
            </a:extLst>
          </p:cNvPr>
          <p:cNvGrpSpPr/>
          <p:nvPr/>
        </p:nvGrpSpPr>
        <p:grpSpPr>
          <a:xfrm>
            <a:off x="5476138" y="1419187"/>
            <a:ext cx="904773" cy="904773"/>
            <a:chOff x="290278" y="5160334"/>
            <a:chExt cx="904773" cy="904773"/>
          </a:xfrm>
        </p:grpSpPr>
        <p:sp>
          <p:nvSpPr>
            <p:cNvPr id="17" name="Oval 16">
              <a:extLst>
                <a:ext uri="{FF2B5EF4-FFF2-40B4-BE49-F238E27FC236}">
                  <a16:creationId xmlns:a16="http://schemas.microsoft.com/office/drawing/2014/main" id="{BA21A81B-E35B-B8C9-AC72-2CF6A7686DAA}"/>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8" name="Graphic 17" descr="User with solid fill">
              <a:extLst>
                <a:ext uri="{FF2B5EF4-FFF2-40B4-BE49-F238E27FC236}">
                  <a16:creationId xmlns:a16="http://schemas.microsoft.com/office/drawing/2014/main" id="{7A0D6286-5033-298F-3F9E-0816F959D8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4226407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8055C5-C3B2-54D4-BDF8-80FA55C8F1BD}"/>
              </a:ext>
            </a:extLst>
          </p:cNvPr>
          <p:cNvSpPr txBox="1">
            <a:spLocks noGrp="1"/>
          </p:cNvSpPr>
          <p:nvPr>
            <p:ph type="title" idx="4294967295"/>
          </p:nvPr>
        </p:nvSpPr>
        <p:spPr>
          <a:xfrm>
            <a:off x="4007119" y="430380"/>
            <a:ext cx="4172966"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solidFill>
                <a:effectLst/>
                <a:uLnTx/>
                <a:uFillTx/>
                <a:latin typeface="Calibri"/>
                <a:ea typeface="Calibri Light"/>
                <a:cs typeface="Calibri Light"/>
              </a:rPr>
              <a:t>Pascale's Noisy Environment</a:t>
            </a:r>
            <a:endParaRPr kumimoji="0" lang="en-US" sz="2400" b="1" i="0" u="none" strike="noStrike" kern="1200" cap="none" spc="0" normalizeH="0" baseline="0" noProof="0" dirty="0">
              <a:ln>
                <a:noFill/>
              </a:ln>
              <a:solidFill>
                <a:schemeClr val="tx1"/>
              </a:solidFill>
              <a:effectLst/>
              <a:uLnTx/>
              <a:uFillTx/>
              <a:latin typeface="Calibri"/>
              <a:ea typeface="+mn-ea"/>
              <a:cs typeface="+mn-cs"/>
            </a:endParaRPr>
          </a:p>
        </p:txBody>
      </p:sp>
      <p:sp>
        <p:nvSpPr>
          <p:cNvPr id="5" name="Google Shape;174;p17">
            <a:extLst>
              <a:ext uri="{FF2B5EF4-FFF2-40B4-BE49-F238E27FC236}">
                <a16:creationId xmlns:a16="http://schemas.microsoft.com/office/drawing/2014/main" id="{C88249ED-E014-429A-9888-DDF16DFCEC2C}"/>
              </a:ext>
            </a:extLst>
          </p:cNvPr>
          <p:cNvSpPr txBox="1"/>
          <p:nvPr/>
        </p:nvSpPr>
        <p:spPr>
          <a:xfrm>
            <a:off x="1211589" y="2572417"/>
            <a:ext cx="4200239" cy="2714478"/>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Pascale has been in a new office space for 3 months. In theory the area is unassigned,  but her manager wants them to all sit in the same area every day they are in, and their Director General has allowed them to put up signs to designate this as their “neighbourhood”. She has one colleague that is particualrly noisy, and Pascal often finds it difficult to concentrate. She misses her cubicle walls.</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7" name="Google Shape;174;p17">
            <a:extLst>
              <a:ext uri="{FF2B5EF4-FFF2-40B4-BE49-F238E27FC236}">
                <a16:creationId xmlns:a16="http://schemas.microsoft.com/office/drawing/2014/main" id="{81E7E491-8315-FEE2-966F-E34C46249785}"/>
              </a:ext>
            </a:extLst>
          </p:cNvPr>
          <p:cNvSpPr txBox="1"/>
          <p:nvPr/>
        </p:nvSpPr>
        <p:spPr>
          <a:xfrm>
            <a:off x="6780174" y="2572417"/>
            <a:ext cx="4030970" cy="2421878"/>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Pascale’s office space functions as being truly unassigned. Often her and her colleagues find spots together, but she also appreciates having occassional access to quieter areas for concentration.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1" name="Arrow: Chevron 10">
            <a:extLst>
              <a:ext uri="{FF2B5EF4-FFF2-40B4-BE49-F238E27FC236}">
                <a16:creationId xmlns:a16="http://schemas.microsoft.com/office/drawing/2014/main" id="{049E70DB-C213-D66B-438D-66BF5CEE21D2}"/>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0F5ECF11-A21D-4775-A59F-D59DD1CA156A}"/>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6" name="Group 15">
            <a:extLst>
              <a:ext uri="{FF2B5EF4-FFF2-40B4-BE49-F238E27FC236}">
                <a16:creationId xmlns:a16="http://schemas.microsoft.com/office/drawing/2014/main" id="{D49879BF-BD63-02D3-8780-7D6114D30F75}"/>
              </a:ext>
              <a:ext uri="{C183D7F6-B498-43B3-948B-1728B52AA6E4}">
                <adec:decorative xmlns:adec="http://schemas.microsoft.com/office/drawing/2017/decorative" val="1"/>
              </a:ext>
            </a:extLst>
          </p:cNvPr>
          <p:cNvGrpSpPr/>
          <p:nvPr/>
        </p:nvGrpSpPr>
        <p:grpSpPr>
          <a:xfrm>
            <a:off x="5476138" y="1419187"/>
            <a:ext cx="904773" cy="904773"/>
            <a:chOff x="1898923" y="6065107"/>
            <a:chExt cx="904773" cy="904773"/>
          </a:xfrm>
        </p:grpSpPr>
        <p:sp>
          <p:nvSpPr>
            <p:cNvPr id="17" name="Oval 16">
              <a:extLst>
                <a:ext uri="{FF2B5EF4-FFF2-40B4-BE49-F238E27FC236}">
                  <a16:creationId xmlns:a16="http://schemas.microsoft.com/office/drawing/2014/main" id="{158F3CEE-3980-5263-B737-7CC06C369D54}"/>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Graphic 17" descr="User with solid fill">
              <a:extLst>
                <a:ext uri="{FF2B5EF4-FFF2-40B4-BE49-F238E27FC236}">
                  <a16:creationId xmlns:a16="http://schemas.microsoft.com/office/drawing/2014/main" id="{4570B7FD-ECDD-5F4D-D33C-839BEAE7C4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8189" y="6164373"/>
              <a:ext cx="706240" cy="706240"/>
            </a:xfrm>
            <a:prstGeom prst="rect">
              <a:avLst/>
            </a:prstGeom>
          </p:spPr>
        </p:pic>
      </p:grpSp>
    </p:spTree>
    <p:extLst>
      <p:ext uri="{BB962C8B-B14F-4D97-AF65-F5344CB8AC3E}">
        <p14:creationId xmlns:p14="http://schemas.microsoft.com/office/powerpoint/2010/main" val="502785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Overview</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139321"/>
          </a:xfrm>
          <a:prstGeom prst="rect">
            <a:avLst/>
          </a:prstGeom>
          <a:noFill/>
        </p:spPr>
        <p:txBody>
          <a:bodyPr wrap="square" rtlCol="0">
            <a:spAutoFit/>
          </a:bodyPr>
          <a:lstStyle/>
          <a:p>
            <a:r>
              <a:rPr lang="en-CA" sz="1800" b="1" kern="100" dirty="0">
                <a:effectLst/>
                <a:latin typeface="Calibri" panose="020F0502020204030204" pitchFamily="34" charset="0"/>
                <a:ea typeface="Calibri" panose="020F0502020204030204" pitchFamily="34" charset="0"/>
                <a:cs typeface="Times New Roman" panose="02020603050405020304" pitchFamily="18" charset="0"/>
              </a:rPr>
              <a:t>Context</a:t>
            </a: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hat is the Government Office portfolio optimization plan</a:t>
            </a:r>
          </a:p>
          <a:p>
            <a:r>
              <a:rPr lang="en-CA" kern="100" dirty="0">
                <a:latin typeface="Calibri" panose="020F0502020204030204" pitchFamily="34" charset="0"/>
                <a:ea typeface="Calibri" panose="020F0502020204030204" pitchFamily="34" charset="0"/>
                <a:cs typeface="Times New Roman" panose="02020603050405020304" pitchFamily="18" charset="0"/>
              </a:rPr>
              <a:t>What does it mean for our organization</a:t>
            </a:r>
          </a:p>
          <a:p>
            <a:r>
              <a:rPr lang="en-CA" kern="100" dirty="0">
                <a:latin typeface="Calibri" panose="020F0502020204030204" pitchFamily="34" charset="0"/>
                <a:ea typeface="Calibri" panose="020F0502020204030204" pitchFamily="34" charset="0"/>
                <a:cs typeface="Times New Roman" panose="02020603050405020304" pitchFamily="18" charset="0"/>
              </a:rPr>
              <a:t>Timeline</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b="1" kern="100" dirty="0">
                <a:latin typeface="Calibri" panose="020F0502020204030204" pitchFamily="34" charset="0"/>
                <a:ea typeface="Calibri" panose="020F0502020204030204" pitchFamily="34" charset="0"/>
                <a:cs typeface="Times New Roman" panose="02020603050405020304" pitchFamily="18" charset="0"/>
              </a:rPr>
              <a:t>Navigating the optimization with a change management perspective</a:t>
            </a:r>
          </a:p>
          <a:p>
            <a:r>
              <a:rPr lang="en-CA" kern="100" dirty="0">
                <a:latin typeface="Calibri" panose="020F0502020204030204" pitchFamily="34" charset="0"/>
                <a:ea typeface="Calibri" panose="020F0502020204030204" pitchFamily="34" charset="0"/>
                <a:cs typeface="Times New Roman" panose="02020603050405020304" pitchFamily="18" charset="0"/>
              </a:rPr>
              <a:t>My role as sponsor</a:t>
            </a:r>
          </a:p>
          <a:p>
            <a:r>
              <a:rPr lang="en-CA" kern="100" dirty="0">
                <a:latin typeface="Calibri" panose="020F0502020204030204" pitchFamily="34" charset="0"/>
                <a:ea typeface="Calibri" panose="020F0502020204030204" pitchFamily="34" charset="0"/>
                <a:cs typeface="Times New Roman" panose="02020603050405020304" pitchFamily="18" charset="0"/>
              </a:rPr>
              <a:t>Your role as leader</a:t>
            </a:r>
          </a:p>
          <a:p>
            <a:r>
              <a:rPr lang="en-CA" kern="100" dirty="0">
                <a:latin typeface="Calibri" panose="020F0502020204030204" pitchFamily="34" charset="0"/>
                <a:ea typeface="Calibri" panose="020F0502020204030204" pitchFamily="34" charset="0"/>
                <a:cs typeface="Times New Roman" panose="02020603050405020304" pitchFamily="18" charset="0"/>
              </a:rPr>
              <a:t>Reactions to change</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008670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F95B0C-A822-FC5E-C664-E6B1A5DC7F01}"/>
              </a:ext>
            </a:extLst>
          </p:cNvPr>
          <p:cNvSpPr>
            <a:spLocks noGrp="1"/>
          </p:cNvSpPr>
          <p:nvPr>
            <p:ph type="title"/>
          </p:nvPr>
        </p:nvSpPr>
        <p:spPr>
          <a:xfrm>
            <a:off x="436489" y="2850262"/>
            <a:ext cx="11115674" cy="939581"/>
          </a:xfrm>
        </p:spPr>
        <p:txBody>
          <a:bodyPr/>
          <a:lstStyle/>
          <a:p>
            <a:r>
              <a:rPr lang="en-CA"/>
              <a:t>Context</a:t>
            </a:r>
          </a:p>
        </p:txBody>
      </p:sp>
    </p:spTree>
    <p:extLst>
      <p:ext uri="{BB962C8B-B14F-4D97-AF65-F5344CB8AC3E}">
        <p14:creationId xmlns:p14="http://schemas.microsoft.com/office/powerpoint/2010/main" val="492946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The Government of Canada’s Office Portfolio Plan</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416320"/>
          </a:xfrm>
          <a:prstGeom prst="rect">
            <a:avLst/>
          </a:prstGeom>
          <a:noFill/>
        </p:spPr>
        <p:txBody>
          <a:bodyPr wrap="square" rtlCol="0">
            <a:spAutoFit/>
          </a:bodyPr>
          <a:lstStyle/>
          <a:p>
            <a:r>
              <a:rPr lang="en-CA" kern="100" dirty="0">
                <a:latin typeface="Calibri" panose="020F0502020204030204" pitchFamily="34" charset="0"/>
                <a:ea typeface="Calibri" panose="020F0502020204030204" pitchFamily="34" charset="0"/>
                <a:cs typeface="Times New Roman" panose="02020603050405020304" pitchFamily="18" charset="0"/>
              </a:rPr>
              <a:t>In Budget 2024, the Government of Canada outlined its plan of converting underused federal offices into homes. This plan consists in part of reducing its office portfolio by 50% over ten years. This optimization of the government’s office portfolio will consist in divesting underused and vacant space. In addition to being a response to the government’s </a:t>
            </a:r>
            <a:r>
              <a:rPr lang="en-CA" kern="100" dirty="0">
                <a:latin typeface="Calibri" panose="020F0502020204030204" pitchFamily="34" charset="0"/>
                <a:ea typeface="Calibri" panose="020F0502020204030204" pitchFamily="34" charset="0"/>
                <a:cs typeface="Times New Roman" panose="02020603050405020304" pitchFamily="18" charset="0"/>
                <a:hlinkClick r:id="rId2"/>
              </a:rPr>
              <a:t>common hybrid work model</a:t>
            </a:r>
            <a:r>
              <a:rPr lang="en-CA" kern="100" dirty="0">
                <a:latin typeface="Calibri" panose="020F0502020204030204" pitchFamily="34" charset="0"/>
                <a:ea typeface="Calibri" panose="020F0502020204030204" pitchFamily="34" charset="0"/>
                <a:cs typeface="Times New Roman" panose="02020603050405020304" pitchFamily="18" charset="0"/>
              </a:rPr>
              <a:t>, this plan also requires to apply implement unassigned seating in office space by default, which means that</a:t>
            </a:r>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orkstations will be unassigned</a:t>
            </a: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Closed offices will be focus rooms or meeting rooms, accessible to all</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kern="100" dirty="0">
                <a:latin typeface="Calibri" panose="020F0502020204030204" pitchFamily="34" charset="0"/>
                <a:ea typeface="Calibri" panose="020F0502020204030204" pitchFamily="34" charset="0"/>
                <a:cs typeface="Times New Roman" panose="02020603050405020304" pitchFamily="18" charset="0"/>
              </a:rPr>
              <a:t>While every organization and every group is going to be impacted differently by this policy, it is important to recognize that these policies could constitute a major change for our people. It is important to reflect on </a:t>
            </a: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your role as a leader in your organization in navigating this change. </a:t>
            </a:r>
          </a:p>
          <a:p>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25183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nvPr>
        </p:nvSpPr>
        <p:spPr/>
        <p:txBody>
          <a:bodyPr>
            <a:normAutofit fontScale="90000"/>
          </a:bodyPr>
          <a:lstStyle/>
          <a:p>
            <a:r>
              <a:rPr lang="en-CA" dirty="0"/>
              <a:t>Unassigned Seating by Default: The Impact on the Government of Canada’s Office Portfolio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nvGrpSpPr>
        <p:grpSpPr>
          <a:xfrm>
            <a:off x="6324275" y="2036711"/>
            <a:ext cx="4702573" cy="3873681"/>
            <a:chOff x="2306020" y="2168083"/>
            <a:chExt cx="4702573" cy="3873681"/>
          </a:xfrm>
        </p:grpSpPr>
        <p:sp>
          <p:nvSpPr>
            <p:cNvPr id="228" name="TextBox 45">
              <a:extLst>
                <a:ext uri="{FF2B5EF4-FFF2-40B4-BE49-F238E27FC236}">
                  <a16:creationId xmlns:a16="http://schemas.microsoft.com/office/drawing/2014/main" id="{2C5C7B4D-E0D3-2A6C-661D-EE6F09B9B0CD}"/>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dirty="0">
                  <a:ln>
                    <a:noFill/>
                  </a:ln>
                  <a:solidFill>
                    <a:srgbClr val="000000"/>
                  </a:solidFill>
                  <a:effectLst/>
                  <a:uLnTx/>
                  <a:uFillTx/>
                  <a:latin typeface="Avenir Next LT Pro" panose="020B0504020202020204" pitchFamily="34" charset="0"/>
                </a:rPr>
                <a:t>Unassigned Seating</a:t>
              </a:r>
              <a:endParaRPr lang="en-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nvSpPr>
        <p:spPr>
          <a:xfrm>
            <a:off x="9004541" y="3402768"/>
            <a:ext cx="1478150" cy="1754326"/>
          </a:xfrm>
          <a:prstGeom prst="rect">
            <a:avLst/>
          </a:prstGeom>
          <a:noFill/>
        </p:spPr>
        <p:txBody>
          <a:bodyPr wrap="square" rtlCol="0">
            <a:spAutoFit/>
          </a:bodyPr>
          <a:lstStyle/>
          <a:p>
            <a:pPr algn="ctr">
              <a:defRPr/>
            </a:pPr>
            <a:r>
              <a:rPr lang="en-CA" b="1" dirty="0">
                <a:solidFill>
                  <a:srgbClr val="000000"/>
                </a:solidFill>
                <a:latin typeface="Avenir Next LT Pro" panose="020B0504020202020204" pitchFamily="34" charset="0"/>
              </a:rPr>
              <a:t>Divested with potential for converting into homes</a:t>
            </a:r>
          </a:p>
        </p:txBody>
      </p:sp>
    </p:spTree>
    <p:extLst>
      <p:ext uri="{BB962C8B-B14F-4D97-AF65-F5344CB8AC3E}">
        <p14:creationId xmlns:p14="http://schemas.microsoft.com/office/powerpoint/2010/main" val="3194185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en-CA" dirty="0"/>
              <a:t>Our vision</a:t>
            </a:r>
          </a:p>
        </p:txBody>
      </p:sp>
      <p:sp>
        <p:nvSpPr>
          <p:cNvPr id="3" name="ZoneTexte 2">
            <a:extLst>
              <a:ext uri="{FF2B5EF4-FFF2-40B4-BE49-F238E27FC236}">
                <a16:creationId xmlns:a16="http://schemas.microsoft.com/office/drawing/2014/main" id="{500AF51E-9E42-6E22-159A-1ACBCCFC48AF}"/>
              </a:ext>
            </a:extLst>
          </p:cNvPr>
          <p:cNvSpPr txBox="1"/>
          <p:nvPr/>
        </p:nvSpPr>
        <p:spPr>
          <a:xfrm>
            <a:off x="617838" y="1940011"/>
            <a:ext cx="5955957" cy="369332"/>
          </a:xfrm>
          <a:prstGeom prst="rect">
            <a:avLst/>
          </a:prstGeom>
          <a:noFill/>
        </p:spPr>
        <p:txBody>
          <a:bodyPr wrap="square" rtlCol="0">
            <a:spAutoFit/>
          </a:bodyPr>
          <a:lstStyle/>
          <a:p>
            <a:r>
              <a:rPr lang="en-CA" dirty="0">
                <a:highlight>
                  <a:srgbClr val="FFFF00"/>
                </a:highlight>
              </a:rPr>
              <a:t>Insert the project’s vision</a:t>
            </a:r>
          </a:p>
        </p:txBody>
      </p:sp>
    </p:spTree>
    <p:extLst>
      <p:ext uri="{BB962C8B-B14F-4D97-AF65-F5344CB8AC3E}">
        <p14:creationId xmlns:p14="http://schemas.microsoft.com/office/powerpoint/2010/main" val="22330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en-CA" dirty="0"/>
              <a:t>What does it mean for our organiz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7" name="Rectangle 116">
            <a:extLst>
              <a:ext uri="{FF2B5EF4-FFF2-40B4-BE49-F238E27FC236}">
                <a16:creationId xmlns:a16="http://schemas.microsoft.com/office/drawing/2014/main" id="{C9DAC2A6-C89F-2DC3-5552-32890189A83F}"/>
              </a:ext>
            </a:extLst>
          </p:cNvPr>
          <p:cNvSpPr/>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b="1" dirty="0">
                <a:solidFill>
                  <a:schemeClr val="bg1"/>
                </a:solidFill>
                <a:latin typeface="Avenir Next LT Pro" panose="020B0504020202020204" pitchFamily="34" charset="0"/>
              </a:rPr>
              <a:t>Now</a:t>
            </a:r>
            <a:endParaRPr kumimoji="0" lang="en-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nvSpPr>
        <p:spPr>
          <a:xfrm>
            <a:off x="792054" y="244569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en-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nvSpPr>
        <p:spPr>
          <a:xfrm>
            <a:off x="792053" y="300758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umber of floor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nvSpPr>
        <p:spPr>
          <a:xfrm>
            <a:off x="792053" y="3676943"/>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nvSpPr>
        <p:spPr>
          <a:xfrm>
            <a:off x="1067402" y="3964411"/>
            <a:ext cx="1515851"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Assigned 1:1 workstation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18573" y="3801023"/>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8521" y="3900734"/>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CA" dirty="0"/>
            </a:p>
          </p:txBody>
        </p:sp>
      </p:grpSp>
      <p:sp>
        <p:nvSpPr>
          <p:cNvPr id="118" name="Rectangle 117">
            <a:extLst>
              <a:ext uri="{FF2B5EF4-FFF2-40B4-BE49-F238E27FC236}">
                <a16:creationId xmlns:a16="http://schemas.microsoft.com/office/drawing/2014/main" id="{03606830-0145-BF89-5080-5EDD4851A9CA}"/>
              </a:ext>
            </a:extLst>
          </p:cNvPr>
          <p:cNvSpPr/>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nvSpPr>
        <p:spPr>
          <a:xfrm>
            <a:off x="6794648" y="2445695"/>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en-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nvSpPr>
        <p:spPr>
          <a:xfrm>
            <a:off x="6809832" y="2991151"/>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dirty="0">
                <a:solidFill>
                  <a:schemeClr val="tx1"/>
                </a:solidFill>
                <a:latin typeface="Avenir Next LT Pro" panose="020B0504020202020204" pitchFamily="34" charset="0"/>
              </a:rPr>
              <a:t>New number of floors</a:t>
            </a:r>
          </a:p>
        </p:txBody>
      </p:sp>
      <p:sp>
        <p:nvSpPr>
          <p:cNvPr id="132" name="TextBox 156">
            <a:extLst>
              <a:ext uri="{FF2B5EF4-FFF2-40B4-BE49-F238E27FC236}">
                <a16:creationId xmlns:a16="http://schemas.microsoft.com/office/drawing/2014/main" id="{972E62F7-856E-E74B-98EE-589692A22E88}"/>
              </a:ext>
            </a:extLst>
          </p:cNvPr>
          <p:cNvSpPr txBox="1"/>
          <p:nvPr/>
        </p:nvSpPr>
        <p:spPr>
          <a:xfrm>
            <a:off x="6927445" y="3642261"/>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seating</a:t>
            </a:r>
            <a:endParaRPr lang="en-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nvSpPr>
        <p:spPr>
          <a:xfrm>
            <a:off x="6826601" y="3578888"/>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142790" y="4022244"/>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34383" y="4064188"/>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nvGrpSpPr>
        <p:grpSpPr>
          <a:xfrm>
            <a:off x="7815558" y="4087904"/>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nvSpPr>
        <p:spPr>
          <a:xfrm>
            <a:off x="6794648" y="5329259"/>
            <a:ext cx="4043070" cy="1267225"/>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workplace utilization strategi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Quiet zone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Neighbourhoods</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Booking system</a:t>
            </a:r>
          </a:p>
          <a:p>
            <a:pPr marL="285750" indent="-285750">
              <a:buFont typeface="Courier New" panose="02070309020205020404" pitchFamily="49" charset="0"/>
              <a:buChar char="o"/>
            </a:pPr>
            <a:r>
              <a:rPr lang="en-CA" sz="1600" dirty="0">
                <a:solidFill>
                  <a:schemeClr val="tx1"/>
                </a:solidFill>
                <a:latin typeface="Avenir Next LT Pro" panose="020B0504020202020204" pitchFamily="34" charset="0"/>
              </a:rPr>
              <a:t>Personal storage</a:t>
            </a:r>
          </a:p>
        </p:txBody>
      </p:sp>
    </p:spTree>
    <p:extLst>
      <p:ext uri="{BB962C8B-B14F-4D97-AF65-F5344CB8AC3E}">
        <p14:creationId xmlns:p14="http://schemas.microsoft.com/office/powerpoint/2010/main" val="581567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en-CA" dirty="0"/>
              <a:t>Timeline</a:t>
            </a:r>
          </a:p>
        </p:txBody>
      </p:sp>
      <p:sp>
        <p:nvSpPr>
          <p:cNvPr id="59" name="ZoneTexte 58">
            <a:extLst>
              <a:ext uri="{FF2B5EF4-FFF2-40B4-BE49-F238E27FC236}">
                <a16:creationId xmlns:a16="http://schemas.microsoft.com/office/drawing/2014/main" id="{9EEF3366-3763-B493-96F0-E3984E5F4223}"/>
              </a:ext>
            </a:extLst>
          </p:cNvPr>
          <p:cNvSpPr txBox="1"/>
          <p:nvPr/>
        </p:nvSpPr>
        <p:spPr>
          <a:xfrm>
            <a:off x="273788" y="2690409"/>
            <a:ext cx="2554103" cy="369332"/>
          </a:xfrm>
          <a:prstGeom prst="rect">
            <a:avLst/>
          </a:prstGeom>
          <a:noFill/>
        </p:spPr>
        <p:txBody>
          <a:bodyPr wrap="square" rtlCol="0">
            <a:spAutoFit/>
          </a:bodyPr>
          <a:lstStyle/>
          <a:p>
            <a:r>
              <a:rPr lang="en-CA" dirty="0"/>
              <a:t>Ongoing communications</a:t>
            </a:r>
          </a:p>
        </p:txBody>
      </p:sp>
      <p:sp>
        <p:nvSpPr>
          <p:cNvPr id="47" name="ZoneTexte 46">
            <a:extLst>
              <a:ext uri="{FF2B5EF4-FFF2-40B4-BE49-F238E27FC236}">
                <a16:creationId xmlns:a16="http://schemas.microsoft.com/office/drawing/2014/main" id="{6F061153-9151-0D2F-6C2F-16E75EEC8F0B}"/>
              </a:ext>
            </a:extLst>
          </p:cNvPr>
          <p:cNvSpPr txBox="1"/>
          <p:nvPr/>
        </p:nvSpPr>
        <p:spPr>
          <a:xfrm>
            <a:off x="1512935" y="5455468"/>
            <a:ext cx="1689032" cy="369332"/>
          </a:xfrm>
          <a:prstGeom prst="rect">
            <a:avLst/>
          </a:prstGeom>
          <a:noFill/>
        </p:spPr>
        <p:txBody>
          <a:bodyPr wrap="square" rtlCol="0">
            <a:spAutoFit/>
          </a:bodyPr>
          <a:lstStyle/>
          <a:p>
            <a:r>
              <a:rPr lang="en-CA" dirty="0"/>
              <a:t>Date or month</a:t>
            </a:r>
          </a:p>
        </p:txBody>
      </p:sp>
      <p:sp>
        <p:nvSpPr>
          <p:cNvPr id="48" name="ZoneTexte 47">
            <a:extLst>
              <a:ext uri="{FF2B5EF4-FFF2-40B4-BE49-F238E27FC236}">
                <a16:creationId xmlns:a16="http://schemas.microsoft.com/office/drawing/2014/main" id="{6B16CA0D-CB1F-D6ED-89BE-F6616AE840BF}"/>
              </a:ext>
            </a:extLst>
          </p:cNvPr>
          <p:cNvSpPr txBox="1"/>
          <p:nvPr/>
        </p:nvSpPr>
        <p:spPr>
          <a:xfrm>
            <a:off x="1257300" y="5770154"/>
            <a:ext cx="2063105" cy="370380"/>
          </a:xfrm>
          <a:prstGeom prst="rect">
            <a:avLst/>
          </a:prstGeom>
          <a:noFill/>
        </p:spPr>
        <p:txBody>
          <a:bodyPr wrap="square" rtlCol="0">
            <a:spAutoFit/>
          </a:bodyPr>
          <a:lstStyle/>
          <a:p>
            <a:pPr algn="ctr"/>
            <a:r>
              <a:rPr lang="en-CA" b="1" dirty="0"/>
              <a:t>All-staff Town Hall</a:t>
            </a:r>
          </a:p>
        </p:txBody>
      </p:sp>
      <p:sp>
        <p:nvSpPr>
          <p:cNvPr id="51" name="ZoneTexte 50">
            <a:extLst>
              <a:ext uri="{FF2B5EF4-FFF2-40B4-BE49-F238E27FC236}">
                <a16:creationId xmlns:a16="http://schemas.microsoft.com/office/drawing/2014/main" id="{F808FB0B-95FB-588D-74D4-560CE24F641C}"/>
              </a:ext>
            </a:extLst>
          </p:cNvPr>
          <p:cNvSpPr txBox="1"/>
          <p:nvPr/>
        </p:nvSpPr>
        <p:spPr>
          <a:xfrm>
            <a:off x="3317914" y="1303026"/>
            <a:ext cx="1689032" cy="369332"/>
          </a:xfrm>
          <a:prstGeom prst="rect">
            <a:avLst/>
          </a:prstGeom>
          <a:noFill/>
        </p:spPr>
        <p:txBody>
          <a:bodyPr wrap="square" rtlCol="0">
            <a:spAutoFit/>
          </a:bodyPr>
          <a:lstStyle/>
          <a:p>
            <a:r>
              <a:rPr lang="en-CA" dirty="0"/>
              <a:t>Date or month</a:t>
            </a:r>
          </a:p>
        </p:txBody>
      </p:sp>
      <p:sp>
        <p:nvSpPr>
          <p:cNvPr id="52" name="ZoneTexte 51">
            <a:extLst>
              <a:ext uri="{FF2B5EF4-FFF2-40B4-BE49-F238E27FC236}">
                <a16:creationId xmlns:a16="http://schemas.microsoft.com/office/drawing/2014/main" id="{FB1CCAB6-4244-F5C1-D619-C44E7D9FA0E1}"/>
              </a:ext>
            </a:extLst>
          </p:cNvPr>
          <p:cNvSpPr txBox="1"/>
          <p:nvPr/>
        </p:nvSpPr>
        <p:spPr>
          <a:xfrm>
            <a:off x="2608869" y="1603988"/>
            <a:ext cx="2756732" cy="646331"/>
          </a:xfrm>
          <a:prstGeom prst="rect">
            <a:avLst/>
          </a:prstGeom>
          <a:noFill/>
        </p:spPr>
        <p:txBody>
          <a:bodyPr wrap="square" rtlCol="0">
            <a:spAutoFit/>
          </a:bodyPr>
          <a:lstStyle/>
          <a:p>
            <a:pPr algn="ctr"/>
            <a:r>
              <a:rPr lang="en-CA" b="1" dirty="0"/>
              <a:t>Removal of personal &amp; business assets</a:t>
            </a:r>
          </a:p>
        </p:txBody>
      </p:sp>
      <p:sp>
        <p:nvSpPr>
          <p:cNvPr id="53" name="ZoneTexte 52">
            <a:extLst>
              <a:ext uri="{FF2B5EF4-FFF2-40B4-BE49-F238E27FC236}">
                <a16:creationId xmlns:a16="http://schemas.microsoft.com/office/drawing/2014/main" id="{77D85CA5-B859-31BE-A852-18BCBED95D02}"/>
              </a:ext>
            </a:extLst>
          </p:cNvPr>
          <p:cNvSpPr txBox="1"/>
          <p:nvPr/>
        </p:nvSpPr>
        <p:spPr>
          <a:xfrm>
            <a:off x="5104730" y="5472545"/>
            <a:ext cx="1689032" cy="369332"/>
          </a:xfrm>
          <a:prstGeom prst="rect">
            <a:avLst/>
          </a:prstGeom>
          <a:noFill/>
        </p:spPr>
        <p:txBody>
          <a:bodyPr wrap="square" rtlCol="0">
            <a:spAutoFit/>
          </a:bodyPr>
          <a:lstStyle/>
          <a:p>
            <a:r>
              <a:rPr lang="en-CA" dirty="0"/>
              <a:t>Date or month</a:t>
            </a:r>
          </a:p>
        </p:txBody>
      </p:sp>
      <p:sp>
        <p:nvSpPr>
          <p:cNvPr id="54" name="ZoneTexte 53">
            <a:extLst>
              <a:ext uri="{FF2B5EF4-FFF2-40B4-BE49-F238E27FC236}">
                <a16:creationId xmlns:a16="http://schemas.microsoft.com/office/drawing/2014/main" id="{D1AF6197-0772-06C0-D39E-B685CA3A6EAD}"/>
              </a:ext>
            </a:extLst>
          </p:cNvPr>
          <p:cNvSpPr txBox="1"/>
          <p:nvPr/>
        </p:nvSpPr>
        <p:spPr>
          <a:xfrm>
            <a:off x="4400839" y="5734911"/>
            <a:ext cx="2756732" cy="646331"/>
          </a:xfrm>
          <a:prstGeom prst="rect">
            <a:avLst/>
          </a:prstGeom>
          <a:noFill/>
        </p:spPr>
        <p:txBody>
          <a:bodyPr wrap="square" rtlCol="0">
            <a:spAutoFit/>
          </a:bodyPr>
          <a:lstStyle/>
          <a:p>
            <a:pPr algn="ctr"/>
            <a:r>
              <a:rPr lang="en-CA" b="1" dirty="0"/>
              <a:t>Guidance and Familiarization Activities</a:t>
            </a:r>
          </a:p>
        </p:txBody>
      </p:sp>
      <p:sp>
        <p:nvSpPr>
          <p:cNvPr id="56" name="ZoneTexte 55">
            <a:extLst>
              <a:ext uri="{FF2B5EF4-FFF2-40B4-BE49-F238E27FC236}">
                <a16:creationId xmlns:a16="http://schemas.microsoft.com/office/drawing/2014/main" id="{ACA4AAD1-FCBE-4C24-0B3D-DE15D577F00F}"/>
              </a:ext>
            </a:extLst>
          </p:cNvPr>
          <p:cNvSpPr txBox="1"/>
          <p:nvPr/>
        </p:nvSpPr>
        <p:spPr>
          <a:xfrm>
            <a:off x="6784018" y="1309675"/>
            <a:ext cx="1689032" cy="369332"/>
          </a:xfrm>
          <a:prstGeom prst="rect">
            <a:avLst/>
          </a:prstGeom>
          <a:noFill/>
        </p:spPr>
        <p:txBody>
          <a:bodyPr wrap="square" rtlCol="0">
            <a:spAutoFit/>
          </a:bodyPr>
          <a:lstStyle/>
          <a:p>
            <a:r>
              <a:rPr lang="en-CA" dirty="0"/>
              <a:t>Date or month</a:t>
            </a:r>
          </a:p>
        </p:txBody>
      </p:sp>
      <p:sp>
        <p:nvSpPr>
          <p:cNvPr id="55" name="ZoneTexte 54">
            <a:extLst>
              <a:ext uri="{FF2B5EF4-FFF2-40B4-BE49-F238E27FC236}">
                <a16:creationId xmlns:a16="http://schemas.microsoft.com/office/drawing/2014/main" id="{7A1A59FF-8821-4234-BA1F-86BE5197E628}"/>
              </a:ext>
            </a:extLst>
          </p:cNvPr>
          <p:cNvSpPr txBox="1"/>
          <p:nvPr/>
        </p:nvSpPr>
        <p:spPr>
          <a:xfrm>
            <a:off x="5670789" y="1585937"/>
            <a:ext cx="4030717" cy="646331"/>
          </a:xfrm>
          <a:prstGeom prst="rect">
            <a:avLst/>
          </a:prstGeom>
          <a:noFill/>
        </p:spPr>
        <p:txBody>
          <a:bodyPr wrap="square" rtlCol="0">
            <a:spAutoFit/>
          </a:bodyPr>
          <a:lstStyle/>
          <a:p>
            <a:pPr algn="ctr"/>
            <a:r>
              <a:rPr lang="en-CA" b="1" dirty="0">
                <a:highlight>
                  <a:srgbClr val="FFFF00"/>
                </a:highlight>
              </a:rPr>
              <a:t>Move </a:t>
            </a:r>
            <a:r>
              <a:rPr lang="en-CA" b="1" i="1" dirty="0">
                <a:highlight>
                  <a:srgbClr val="FFFF00"/>
                </a:highlight>
              </a:rPr>
              <a:t>or</a:t>
            </a:r>
            <a:r>
              <a:rPr lang="en-CA" b="1" dirty="0">
                <a:highlight>
                  <a:srgbClr val="FFFF00"/>
                </a:highlight>
              </a:rPr>
              <a:t> Implementation of optimized workplace </a:t>
            </a:r>
            <a:r>
              <a:rPr lang="en-CA" b="1" dirty="0"/>
              <a:t>and new utilization strategies</a:t>
            </a:r>
          </a:p>
        </p:txBody>
      </p:sp>
      <p:sp>
        <p:nvSpPr>
          <p:cNvPr id="58" name="ZoneTexte 57">
            <a:extLst>
              <a:ext uri="{FF2B5EF4-FFF2-40B4-BE49-F238E27FC236}">
                <a16:creationId xmlns:a16="http://schemas.microsoft.com/office/drawing/2014/main" id="{62D48345-9A67-33B9-271D-D2722B58526B}"/>
              </a:ext>
            </a:extLst>
          </p:cNvPr>
          <p:cNvSpPr txBox="1"/>
          <p:nvPr/>
        </p:nvSpPr>
        <p:spPr>
          <a:xfrm>
            <a:off x="8586754" y="5411035"/>
            <a:ext cx="1689032" cy="369332"/>
          </a:xfrm>
          <a:prstGeom prst="rect">
            <a:avLst/>
          </a:prstGeom>
          <a:noFill/>
        </p:spPr>
        <p:txBody>
          <a:bodyPr wrap="square" rtlCol="0">
            <a:spAutoFit/>
          </a:bodyPr>
          <a:lstStyle/>
          <a:p>
            <a:r>
              <a:rPr lang="en-CA" dirty="0"/>
              <a:t>Date or month</a:t>
            </a:r>
          </a:p>
        </p:txBody>
      </p:sp>
      <p:sp>
        <p:nvSpPr>
          <p:cNvPr id="57" name="ZoneTexte 56">
            <a:extLst>
              <a:ext uri="{FF2B5EF4-FFF2-40B4-BE49-F238E27FC236}">
                <a16:creationId xmlns:a16="http://schemas.microsoft.com/office/drawing/2014/main" id="{80C64189-743E-1D6F-BC38-898A98A32465}"/>
              </a:ext>
            </a:extLst>
          </p:cNvPr>
          <p:cNvSpPr txBox="1"/>
          <p:nvPr/>
        </p:nvSpPr>
        <p:spPr>
          <a:xfrm>
            <a:off x="8021733" y="5667747"/>
            <a:ext cx="3034194" cy="646331"/>
          </a:xfrm>
          <a:prstGeom prst="rect">
            <a:avLst/>
          </a:prstGeom>
          <a:noFill/>
        </p:spPr>
        <p:txBody>
          <a:bodyPr wrap="square" rtlCol="0">
            <a:spAutoFit/>
          </a:bodyPr>
          <a:lstStyle/>
          <a:p>
            <a:pPr algn="ctr"/>
            <a:r>
              <a:rPr lang="en-CA" b="1" dirty="0"/>
              <a:t>Post-implementation survey, adjustments and reinforcement</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nvCxnSpPr>
        <p:spPr>
          <a:xfrm>
            <a:off x="7597363" y="2332954"/>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nvSpPr>
        <p:spPr>
          <a:xfrm>
            <a:off x="7494195" y="2202222"/>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Custom 1">
      <a:majorFont>
        <a:latin typeface="Arial Rounded MT Bold"/>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86</TotalTime>
  <Words>1579</Words>
  <Application>Microsoft Office PowerPoint</Application>
  <PresentationFormat>Grand écran</PresentationFormat>
  <Paragraphs>156</Paragraphs>
  <Slides>21</Slides>
  <Notes>9</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30" baseType="lpstr">
      <vt:lpstr>Arial</vt:lpstr>
      <vt:lpstr>Arial Rounded MT Bold</vt:lpstr>
      <vt:lpstr>Avenir Next LT Pro</vt:lpstr>
      <vt:lpstr>Calibri</vt:lpstr>
      <vt:lpstr>Calibri Light</vt:lpstr>
      <vt:lpstr>Courier New</vt:lpstr>
      <vt:lpstr>Georgia</vt:lpstr>
      <vt:lpstr>1_Office Theme</vt:lpstr>
      <vt:lpstr>think-cell Slide</vt:lpstr>
      <vt:lpstr>Our Workplace Optimization project</vt:lpstr>
      <vt:lpstr>How to use this document</vt:lpstr>
      <vt:lpstr>Overview</vt:lpstr>
      <vt:lpstr>Context</vt:lpstr>
      <vt:lpstr>The Government of Canada’s Office Portfolio Plan</vt:lpstr>
      <vt:lpstr>Unassigned Seating by Default: The Impact on the Government of Canada’s Office Portfolio </vt:lpstr>
      <vt:lpstr>Our vision</vt:lpstr>
      <vt:lpstr>What does it mean for our organization?</vt:lpstr>
      <vt:lpstr>Timeline</vt:lpstr>
      <vt:lpstr>Leadership’s role from a change management perspective</vt:lpstr>
      <vt:lpstr>My role as Sponsor of the optimization project</vt:lpstr>
      <vt:lpstr>Your Role as an Executive</vt:lpstr>
      <vt:lpstr>Seize the opportunities to play your role</vt:lpstr>
      <vt:lpstr>Practice Compassion and Grace</vt:lpstr>
      <vt:lpstr>Change management &amp; leadership impact </vt:lpstr>
      <vt:lpstr>Reactions to change</vt:lpstr>
      <vt:lpstr>The need for strong leadership – Persona Studies</vt:lpstr>
      <vt:lpstr>José’s security concerns</vt:lpstr>
      <vt:lpstr>John’s Workstation</vt:lpstr>
      <vt:lpstr>Nina’s Office</vt:lpstr>
      <vt:lpstr>Pascale's Noisy Environ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Jacob, Karen (SPAC/PSPC) (elle-la / she-her)</cp:lastModifiedBy>
  <cp:revision>25</cp:revision>
  <dcterms:created xsi:type="dcterms:W3CDTF">2018-01-23T15:59:12Z</dcterms:created>
  <dcterms:modified xsi:type="dcterms:W3CDTF">2024-11-13T21:0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1T19:43:1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16bedad-ed97-47f6-b879-9e8e3511622d</vt:lpwstr>
  </property>
  <property fmtid="{D5CDD505-2E9C-101B-9397-08002B2CF9AE}" pid="8" name="MSIP_Label_834ed4f5-eae4-40c7-82be-b1cdf720a1b9_ContentBits">
    <vt:lpwstr>0</vt:lpwstr>
  </property>
</Properties>
</file>